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859" r:id="rId2"/>
    <p:sldId id="860" r:id="rId3"/>
    <p:sldId id="882" r:id="rId4"/>
    <p:sldId id="861" r:id="rId5"/>
    <p:sldId id="862" r:id="rId6"/>
    <p:sldId id="261" r:id="rId7"/>
    <p:sldId id="872" r:id="rId8"/>
    <p:sldId id="873" r:id="rId9"/>
    <p:sldId id="874" r:id="rId10"/>
    <p:sldId id="877" r:id="rId11"/>
    <p:sldId id="878" r:id="rId12"/>
    <p:sldId id="879" r:id="rId13"/>
    <p:sldId id="880" r:id="rId14"/>
    <p:sldId id="868" r:id="rId15"/>
    <p:sldId id="869" r:id="rId16"/>
    <p:sldId id="881" r:id="rId17"/>
    <p:sldId id="866" r:id="rId18"/>
    <p:sldId id="867" r:id="rId19"/>
    <p:sldId id="864" r:id="rId2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A1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04"/>
    <p:restoredTop sz="95970"/>
  </p:normalViewPr>
  <p:slideViewPr>
    <p:cSldViewPr snapToGrid="0" snapToObjects="1" showGuides="1">
      <p:cViewPr varScale="1">
        <p:scale>
          <a:sx n="116" d="100"/>
          <a:sy n="116" d="100"/>
        </p:scale>
        <p:origin x="720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7FE459-76F4-CD47-A1F6-DAA3D588AD2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57D936-2F1F-7A48-A464-75B277D58A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7006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3163-A6A1-4A19-B7EF-00B930F39AC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565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Что такое </a:t>
            </a:r>
            <a:r>
              <a:rPr lang="en-US" sz="1200" dirty="0"/>
              <a:t>Pricing</a:t>
            </a:r>
            <a:r>
              <a:rPr lang="en-US" sz="1200" baseline="0" dirty="0"/>
              <a:t> Servic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Облачный сервис</a:t>
            </a:r>
            <a:r>
              <a:rPr lang="en-US" sz="1200" baseline="0" dirty="0"/>
              <a:t> </a:t>
            </a:r>
            <a:r>
              <a:rPr lang="ru-RU" sz="1200" baseline="0" dirty="0"/>
              <a:t>«одного окна» для работы с ПФИ</a:t>
            </a:r>
            <a:r>
              <a:rPr lang="en-US" sz="1200" baseline="0" dirty="0"/>
              <a:t>: </a:t>
            </a:r>
            <a:r>
              <a:rPr lang="ru-RU" sz="1200" baseline="0" dirty="0"/>
              <a:t>оценка, риск, </a:t>
            </a:r>
            <a:r>
              <a:rPr lang="en-US" sz="1200" baseline="0" dirty="0"/>
              <a:t>CVA, </a:t>
            </a:r>
            <a:r>
              <a:rPr lang="en-US" sz="1200" baseline="0" dirty="0" err="1"/>
              <a:t>PnlExplain</a:t>
            </a:r>
            <a:r>
              <a:rPr lang="en-US" sz="1200" baseline="0" dirty="0"/>
              <a:t>, </a:t>
            </a:r>
            <a:r>
              <a:rPr lang="ru-RU" sz="1200" baseline="0" dirty="0"/>
              <a:t>сценарии,</a:t>
            </a:r>
            <a:r>
              <a:rPr lang="en-US" sz="1200" baseline="0" dirty="0"/>
              <a:t> </a:t>
            </a:r>
            <a:r>
              <a:rPr lang="ru-RU" sz="1200" baseline="0" dirty="0" err="1"/>
              <a:t>стрес</a:t>
            </a:r>
            <a:r>
              <a:rPr lang="ru-RU" sz="1200" baseline="0" dirty="0"/>
              <a:t> </a:t>
            </a:r>
            <a:r>
              <a:rPr lang="ru-RU" sz="1200" baseline="0" dirty="0" err="1"/>
              <a:t>стест</a:t>
            </a:r>
            <a:r>
              <a:rPr lang="ru-RU" sz="1200" baseline="0" dirty="0"/>
              <a:t>, </a:t>
            </a:r>
            <a:r>
              <a:rPr lang="ru-RU" sz="1200" baseline="0" dirty="0" err="1"/>
              <a:t>бэктест</a:t>
            </a:r>
            <a:r>
              <a:rPr lang="ru-RU" sz="1200" baseline="0" dirty="0"/>
              <a:t>, репорты </a:t>
            </a:r>
            <a:r>
              <a:rPr lang="ru-RU" sz="1200" baseline="0" dirty="0" err="1"/>
              <a:t>итд</a:t>
            </a:r>
            <a:endParaRPr lang="ru-RU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Может быть интегрирована с любой другой АС ба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Легко масштабируется и дорабатывается под нужды</a:t>
            </a:r>
            <a:r>
              <a:rPr lang="en-US" sz="1200" baseline="0" dirty="0"/>
              <a:t> </a:t>
            </a:r>
            <a:r>
              <a:rPr lang="ru-RU" sz="1200" baseline="0" dirty="0"/>
              <a:t>клие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Архитектура</a:t>
            </a:r>
            <a:r>
              <a:rPr lang="en-US" sz="1200" baseline="0" dirty="0"/>
              <a:t>? </a:t>
            </a:r>
            <a:r>
              <a:rPr lang="ru-RU" sz="1200" baseline="0" dirty="0"/>
              <a:t>Как пользоваться</a:t>
            </a:r>
            <a:r>
              <a:rPr lang="en-US" sz="1200" baseline="0" dirty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Запрос-Ответ. Есть богатый </a:t>
            </a:r>
            <a:r>
              <a:rPr lang="en-US" sz="1200" baseline="0" dirty="0"/>
              <a:t>API </a:t>
            </a:r>
            <a:r>
              <a:rPr lang="ru-RU" sz="1200" baseline="0" dirty="0"/>
              <a:t>как для людей так и для </a:t>
            </a:r>
            <a:r>
              <a:rPr lang="en-US" sz="1200" baseline="0" dirty="0"/>
              <a:t>A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Платформа содержит собственные вычислительные мощности и систему распределения вычислений – клиенту не нужно об этом думать.</a:t>
            </a:r>
            <a:endParaRPr lang="en-US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В платформу оперативно подгружаются официальные рыночные данные</a:t>
            </a:r>
            <a:r>
              <a:rPr lang="en-US" sz="1200" baseline="0" dirty="0"/>
              <a:t>: </a:t>
            </a:r>
            <a:r>
              <a:rPr lang="ru-RU" sz="1200" baseline="0" dirty="0"/>
              <a:t>у клиента есть </a:t>
            </a:r>
            <a:r>
              <a:rPr lang="ru-RU" sz="1200" baseline="0" dirty="0" err="1"/>
              <a:t>есть</a:t>
            </a:r>
            <a:r>
              <a:rPr lang="ru-RU" sz="1200" baseline="0" dirty="0"/>
              <a:t> возможность использования модифицированных официальных данных или альтернативных данных</a:t>
            </a:r>
            <a:endParaRPr lang="en-US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хнически легко интегрируется с АС банка. В данный момент реализован протокол оптимизированный под скорость взаимодействия. Позволяет интегрироваться с АС находящимися в том же сетевом сегменте и не использующих информацию К1/К2. В планах на следующий год реализация текстового протокола для снятия этих ограничений.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зор текущих пользователей PS и возможных проектов в ближайшем будущем. CVA. Murex.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UI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лектронные каналы: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ma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d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s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7M (2023). Обсуждение: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аркетмейкинг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электронных каналах. Обсуждение: расширение использования в Риск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/>
          </a:p>
          <a:p>
            <a:pPr marL="0" indent="0">
              <a:buFont typeface="Arial" panose="020B0604020202020204" pitchFamily="34" charset="0"/>
              <a:buNone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Какие продукты поддерживает </a:t>
            </a:r>
            <a:r>
              <a:rPr lang="en-US" sz="1200" baseline="0" dirty="0"/>
              <a:t>PS?</a:t>
            </a:r>
            <a:endParaRPr lang="ru-RU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Практически любые. </a:t>
            </a:r>
            <a:r>
              <a:rPr lang="ru-RU" sz="1200" dirty="0"/>
              <a:t>Вычислительное ядро содержит «конструктор» продуктов и позволяет в короткие сроки добавить поддержку практически любого ПФ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Ядро реализует принцип «фабрики моделей» и автоматически конструирует и калибрует модель под нужды обрабатываемого ПФИ или портфеля</a:t>
            </a:r>
            <a:r>
              <a:rPr lang="ru-RU" sz="1200" baseline="0" dirty="0"/>
              <a:t> ПФИ. 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Ядро содержит универсальный </a:t>
            </a:r>
            <a:r>
              <a:rPr lang="ru-RU" sz="1200" dirty="0" err="1"/>
              <a:t>симуляционный</a:t>
            </a:r>
            <a:r>
              <a:rPr lang="ru-RU" sz="1200" dirty="0"/>
              <a:t> векторизованный движок класса </a:t>
            </a:r>
            <a:r>
              <a:rPr lang="en-US" sz="1200" dirty="0"/>
              <a:t>American Monte-Carlo </a:t>
            </a:r>
            <a:r>
              <a:rPr lang="ru-RU" sz="1200" dirty="0"/>
              <a:t>с поддержкой авто дифференцирования что позволяет работать с</a:t>
            </a:r>
            <a:r>
              <a:rPr lang="ru-RU" sz="1200" baseline="0" dirty="0"/>
              <a:t> ПФИ и портфелями ПФИ практически любой сложности включая </a:t>
            </a:r>
            <a:r>
              <a:rPr lang="en-US" sz="1200" baseline="0" dirty="0"/>
              <a:t>callable/puttable</a:t>
            </a:r>
            <a:r>
              <a:rPr lang="ru-RU" sz="1200" baseline="0" dirty="0"/>
              <a:t> структур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Почему </a:t>
            </a:r>
            <a:r>
              <a:rPr lang="en-US" sz="1200" baseline="0" dirty="0"/>
              <a:t>PS </a:t>
            </a:r>
            <a:r>
              <a:rPr lang="ru-RU" sz="1200" baseline="0" dirty="0"/>
              <a:t>работает в 50 раз быстрее </a:t>
            </a:r>
            <a:r>
              <a:rPr lang="en-US" sz="1200" baseline="0" dirty="0" err="1"/>
              <a:t>Numerix</a:t>
            </a:r>
            <a:r>
              <a:rPr lang="en-US" sz="1200" baseline="0" dirty="0"/>
              <a:t> CVA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Мы используем современные технологии как в вычислительном ядре так и в облачной архитектуре сервис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В ядре большинство математических операций векторизованы (элементарная единица расчета не одно число а вектор) такой формат работает кратно быстрее на современных процессор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Для расчета риска мы используем технологию </a:t>
            </a:r>
            <a:r>
              <a:rPr lang="ru-RU" sz="1200" baseline="0" dirty="0" err="1"/>
              <a:t>автодифференцирования</a:t>
            </a:r>
            <a:r>
              <a:rPr lang="ru-RU" sz="1200" baseline="0" dirty="0"/>
              <a:t> которая позволяет считать риск без </a:t>
            </a:r>
            <a:r>
              <a:rPr lang="ru-RU" sz="1200" baseline="0" dirty="0" err="1"/>
              <a:t>бампов</a:t>
            </a:r>
            <a:r>
              <a:rPr lang="ru-RU" sz="1200" baseline="0" dirty="0"/>
              <a:t>, кратно быстрее классических систем. Технология пришла из мира </a:t>
            </a:r>
            <a:r>
              <a:rPr lang="en-US" sz="1200" baseline="0" dirty="0" err="1"/>
              <a:t>MachineLearning</a:t>
            </a:r>
            <a:r>
              <a:rPr lang="en-US" sz="1200" baseline="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На уровне облака используется современная система распределения вычислений вдохновленная технологией </a:t>
            </a:r>
            <a:r>
              <a:rPr lang="en-US" sz="1200" baseline="0" dirty="0" err="1"/>
              <a:t>blockchain</a:t>
            </a:r>
            <a:r>
              <a:rPr lang="en-US" sz="1200" baseline="0" dirty="0"/>
              <a:t>. </a:t>
            </a:r>
            <a:r>
              <a:rPr lang="ru-RU" sz="1200" baseline="0" dirty="0"/>
              <a:t>Это позволяет уверенно работать под большими нагрузкам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Платформа </a:t>
            </a:r>
            <a:r>
              <a:rPr lang="en-US" sz="1200" baseline="0" dirty="0"/>
              <a:t>Pricing Service </a:t>
            </a:r>
            <a:r>
              <a:rPr lang="ru-RU" sz="1200" baseline="0" dirty="0"/>
              <a:t>поддерживается объединённой командой ДГР и ДИТ. Сейчас команда имеет опыт и экспертизу (но не всегда ресурсы) для</a:t>
            </a:r>
            <a:r>
              <a:rPr lang="en-US" sz="1200" baseline="0" dirty="0"/>
              <a:t> </a:t>
            </a:r>
            <a:r>
              <a:rPr lang="ru-RU" sz="1200" baseline="0" dirty="0"/>
              <a:t>масштабирования и доработок платформы под нужды наших текущих или новых внутренних клиента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748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2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http://77A1012EB7C4058D7857A2C27F19AA38.dms.sberbank.ru/77A1012EB7C4058D7857A2C27F19AA38-E15EB427CD4712C851F7D03AB39A70C4-4BAB6EDBDEEDE42C0AEF20FCEDC14E5A/1.png" TargetMode="External"/><Relationship Id="rId4" Type="http://schemas.openxmlformats.org/officeDocument/2006/relationships/slideMaster" Target="../slideMasters/slideMaster1.xml"/><Relationship Id="rId9" Type="http://schemas.openxmlformats.org/officeDocument/2006/relationships/image" Target="http://77A1012EB7C4058D7857A2C27F19AA38.dms.sberbank.ru/77A1012EB7C4058D7857A2C27F19AA38-E15EB427CD4712C851F7D03AB39A70C4-98DF33912A645DED11E060C8F1BF4ACC/1.png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EA1B3B-7427-9549-A115-0C9BA4FDC2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69ED15D-81AE-9F47-905A-1F4E38E504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4614EE-D0F5-2648-A303-11B06367D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4BBF31E-4A33-7848-8972-1B593CACB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8D0E48-7BFB-DE49-AD64-81583FA64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560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74D40B-0551-A448-8A31-7A1AB2601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A549B45-AF86-954B-815B-8EEB3002DA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55F5D94-AAD0-6843-AF14-B2F2313E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4F449E9-7EF7-FB4A-901E-23B4E3857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63B427E-BF3A-3445-87D4-CE8F28984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174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E32D169-6F9D-784F-8DA0-FCEC056471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B5A533B-2A14-854B-9BC3-61A71E0163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0F3001B-29B4-6C4B-B05B-43CB8DC4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2C2FCEC-822A-B446-B387-36B002332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8BE3830-0E7C-3048-9B91-9FE2DF15D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2145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pic>
        <p:nvPicPr>
          <p:cNvPr id="9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0515600" cy="78483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85821"/>
            <a:ext cx="8177213" cy="145424"/>
          </a:xfrm>
        </p:spPr>
        <p:txBody>
          <a:bodyPr vert="horz" wrap="square" lIns="0" tIns="0" rIns="91440" bIns="0" rtlCol="0" anchor="t">
            <a:spAutoFit/>
          </a:bodyPr>
          <a:lstStyle>
            <a:lvl1pPr>
              <a:defRPr lang="en-US" sz="1050" b="0" dirty="0" smtClean="0">
                <a:solidFill>
                  <a:schemeClr val="bg2">
                    <a:lumMod val="90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597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24" name="Рисунок 23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Рисунок 24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Рисунок 25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Рисунок 26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Рисунок 27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7048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pic>
        <p:nvPicPr>
          <p:cNvPr id="9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0515600" cy="78483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5" name="Рисунок 4" descr="http://77A1012EB7C4058D7857A2C27F19AA38.dms.sberbank.ru/77A1012EB7C4058D7857A2C27F19AA38-E15EB427CD4712C851F7D03AB39A70C4-98DF33912A645DED11E060C8F1BF4ACC/1.png"/>
          <p:cNvPicPr>
            <a:picLocks/>
          </p:cNvPicPr>
          <p:nvPr userDrawn="1"/>
        </p:nvPicPr>
        <p:blipFill>
          <a:blip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Рисунок 9" descr="http://77A1012EB7C4058D7857A2C27F19AA38.dms.sberbank.ru/77A1012EB7C4058D7857A2C27F19AA38-E15EB427CD4712C851F7D03AB39A70C4-4BAB6EDBDEEDE42C0AEF20FCEDC14E5A/1.png"/>
          <p:cNvPicPr>
            <a:picLocks/>
          </p:cNvPicPr>
          <p:nvPr userDrawn="1"/>
        </p:nvPicPr>
        <p:blipFill>
          <a:blip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428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93848C-938D-8C4F-BAA1-A3D7FEF95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8E7E652-719B-C644-BE64-68C6DB671E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6F293B8-5B35-6446-902C-AFC240D90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C8CC7C9-253B-C946-915B-92843B8A0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4B8C82F-1CD6-A64B-BF17-7FFCDE062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2691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C9D4F6-6D26-D744-A5B7-3560798E2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0EAA739-DC5B-B14D-9523-64AD2E2B8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5F33F62-8CAA-634D-AF9A-CC985AC74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EEFE944-D63F-574C-BEEB-274EF2C4F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FF27CD3-FDA3-D54F-8315-4FD6C2A68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8609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33A482-9CD6-FD49-B8FB-CA5FAF6DC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3AAE233-031D-6A46-BE75-553705C4CB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2568C46-5B95-AD4B-B1B6-CCA4BD7906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01679BC-2B17-414E-B4F8-C14E15936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73102D1-038D-C64F-939E-9D6E12EFD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ADB551A-FAAC-5640-B0AB-2F3F38490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26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626662-8AE2-5647-BA9D-BB27743F0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440C1F4-429F-3E48-9DE9-F92459A75C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63EF270-BCF1-5849-AF44-2EF3FD1D23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E3456D3-FB49-6A4C-B557-4A3DE07510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3D1FEBE7-8B11-B449-A61F-D6F1F9A9BE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A6010E74-3AAE-7449-81F4-EC199F844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4A39B14-D7F0-7548-BB84-0C8F4B304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032E2CC-D372-FC49-B591-7C2289281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5622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4C578F-1C37-CE46-8F82-2435B8681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0F717A6-5B27-7644-A106-3F70C0C21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68CB346-59F8-D247-8BB5-24B7A282C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762BF4F-1607-CF4F-BCBF-9EE546F19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889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6326F7A-149E-2740-8C41-79465A2B3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E238B05-764B-0349-800B-05355E295B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F3E21F3-D578-514C-9956-557776256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567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272D97-B425-DB49-9EED-2079C4751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07E4FF0-3C00-F74A-BAB6-FF7D33C6BE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DAB8F29-4FD5-3841-BFBE-3CBB60686F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3292651-2067-CF4B-89FA-9E051F4D2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D70B8DB-2DEC-954F-8D6A-A5C386242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CB5BD18-FBDC-1B4B-893E-5C49A1A5D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2343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B22DA0-116B-C845-9DFA-2653BECFA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340B015-797A-BF47-B1B9-7CDE2EC0F3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C414A0C-0CE6-1046-B7CA-1400BC9FA5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04AFDA9-B228-8D4E-90C5-457DB6A1C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D7AF156-3B6C-B746-8949-A554B4F63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7188F52-3B89-B54A-A5E4-B4F29D5B9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62266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8D9FCA-3E67-8645-8599-A4404A088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AB87A6A-BC02-CE41-8767-6DBEF85321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7C7AEAB-0ED7-4443-B297-C3ED9BCC5A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6258ED-CCB5-CE4C-A0C9-EBC53ABA9529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8482CF-221D-3540-B317-B34A2DD41A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55444D-3217-744E-9F16-A449C4EE54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F8FAD-D0A2-0A48-81D8-3752730A52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3750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3198133"/>
            <a:ext cx="10515600" cy="1076412"/>
          </a:xfrm>
        </p:spPr>
        <p:txBody>
          <a:bodyPr>
            <a:normAutofit fontScale="90000"/>
          </a:bodyPr>
          <a:lstStyle/>
          <a:p>
            <a:pPr algn="l">
              <a:spcAft>
                <a:spcPts val="1800"/>
              </a:spcAft>
            </a:pPr>
            <a:r>
              <a:rPr lang="en-US" sz="5400" dirty="0"/>
              <a:t>Pricing Service CVA </a:t>
            </a:r>
            <a:br>
              <a:rPr lang="ru-RU" sz="5400" dirty="0"/>
            </a:br>
            <a:r>
              <a:rPr lang="ru-RU" sz="2700" dirty="0"/>
              <a:t>Часть 2</a:t>
            </a:r>
            <a:r>
              <a:rPr lang="en-US" sz="2700" dirty="0"/>
              <a:t>: Math</a:t>
            </a:r>
            <a:endParaRPr lang="ru-RU" sz="2700" dirty="0"/>
          </a:p>
        </p:txBody>
      </p:sp>
    </p:spTree>
    <p:extLst>
      <p:ext uri="{BB962C8B-B14F-4D97-AF65-F5344CB8AC3E}">
        <p14:creationId xmlns:p14="http://schemas.microsoft.com/office/powerpoint/2010/main" val="3955726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AD: Automatic </a:t>
            </a:r>
            <a:r>
              <a:rPr lang="en-US" dirty="0" err="1"/>
              <a:t>Adjoint</a:t>
            </a:r>
            <a:r>
              <a:rPr lang="en-US" dirty="0"/>
              <a:t> Differentiation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590674"/>
            <a:ext cx="6391275" cy="183832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2914" y="3428999"/>
            <a:ext cx="40459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андартное правило дифференцирования дает: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187" y="3092258"/>
            <a:ext cx="5257800" cy="762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42912" y="4037110"/>
            <a:ext cx="94575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Если добавить так же правила дифференцирования произведения, суммы (и т.п.) функций и правила дифференцирования элементарных функций (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log, sin, cos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т.д.), то получаем задачу с большим количеством действий, которые компьютер теоретически может сделать.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2912" y="5323251"/>
            <a:ext cx="945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тории успеха этого подхода в других проектах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518" y="5076108"/>
            <a:ext cx="1105911" cy="70686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633" y="5219897"/>
            <a:ext cx="1385938" cy="82133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1577" y="4677924"/>
            <a:ext cx="1401000" cy="19979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51175" y="6025171"/>
            <a:ext cx="1532854" cy="25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880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AD: Automatic </a:t>
            </a:r>
            <a:r>
              <a:rPr lang="en-US" dirty="0" err="1"/>
              <a:t>Adjoint</a:t>
            </a:r>
            <a:r>
              <a:rPr lang="en-US" dirty="0"/>
              <a:t> Differentiation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846" y="1625137"/>
            <a:ext cx="5831567" cy="339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755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AD: Automatic </a:t>
            </a:r>
            <a:r>
              <a:rPr lang="en-US" dirty="0" err="1"/>
              <a:t>Adjoint</a:t>
            </a:r>
            <a:r>
              <a:rPr lang="en-US" dirty="0"/>
              <a:t> Differentiation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272" y="1683326"/>
            <a:ext cx="5831567" cy="339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970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AD: Automatic </a:t>
            </a:r>
            <a:r>
              <a:rPr lang="en-US" dirty="0" err="1"/>
              <a:t>Adjoint</a:t>
            </a:r>
            <a:r>
              <a:rPr lang="en-US" dirty="0"/>
              <a:t> Differentiation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00856" y="1384068"/>
            <a:ext cx="808594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то нужно что бы это заработало для сложного алгоритма?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даптация вычислительных алгоритмов под ограничения подхода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аскивание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djoint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’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в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ODO</a:t>
            </a:r>
            <a:endParaRPr lang="ru-RU" sz="14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теграция специализированной библиотек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Open source options -- </a:t>
            </a:r>
            <a:r>
              <a:rPr lang="en-US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TOD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Matlogica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©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5566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792" y="185970"/>
            <a:ext cx="9995050" cy="438582"/>
          </a:xfrm>
        </p:spPr>
        <p:txBody>
          <a:bodyPr/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онструктор 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: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ниверсальный языка описания ПФИ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42912" y="6485821"/>
            <a:ext cx="8177213" cy="145424"/>
          </a:xfrm>
        </p:spPr>
        <p:txBody>
          <a:bodyPr>
            <a:normAutofit fontScale="25000" lnSpcReduction="20000"/>
          </a:bodyPr>
          <a:lstStyle/>
          <a:p>
            <a:endParaRPr lang="ru-RU"/>
          </a:p>
        </p:txBody>
      </p:sp>
      <p:sp>
        <p:nvSpPr>
          <p:cNvPr id="4" name="Rectangle 3"/>
          <p:cNvSpPr/>
          <p:nvPr/>
        </p:nvSpPr>
        <p:spPr>
          <a:xfrm>
            <a:off x="633045" y="2334611"/>
            <a:ext cx="3727082" cy="4172835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89215" y="2452486"/>
            <a:ext cx="237058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Характеристики продук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9298" y="3109117"/>
            <a:ext cx="358082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2"/>
                </a:solidFill>
              </a:rPr>
              <a:t>Underlyings</a:t>
            </a:r>
            <a:r>
              <a:rPr lang="en-US" sz="1400" dirty="0">
                <a:solidFill>
                  <a:schemeClr val="tx2"/>
                </a:solidFill>
              </a:rPr>
              <a:t>: spots, futures, </a:t>
            </a:r>
            <a:r>
              <a:rPr lang="en-US" sz="1400" dirty="0" err="1">
                <a:solidFill>
                  <a:schemeClr val="tx2"/>
                </a:solidFill>
              </a:rPr>
              <a:t>ibor</a:t>
            </a:r>
            <a:r>
              <a:rPr lang="en-US" sz="1400" dirty="0">
                <a:solidFill>
                  <a:schemeClr val="tx2"/>
                </a:solidFill>
              </a:rPr>
              <a:t> rates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Dates: observation dates, expiration dates, payment dates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tx2"/>
              </a:solidFill>
            </a:endParaRPr>
          </a:p>
          <a:p>
            <a:r>
              <a:rPr lang="en-US" sz="1400" dirty="0">
                <a:solidFill>
                  <a:schemeClr val="tx2"/>
                </a:solidFill>
              </a:rPr>
              <a:t>Even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Barriers, optionality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endParaRPr lang="en-US" sz="1400" dirty="0">
              <a:solidFill>
                <a:schemeClr val="tx2"/>
              </a:solidFill>
            </a:endParaRPr>
          </a:p>
          <a:p>
            <a:endParaRPr lang="en-US" sz="1400" dirty="0">
              <a:solidFill>
                <a:schemeClr val="tx2"/>
              </a:solidFill>
            </a:endParaRPr>
          </a:p>
          <a:p>
            <a:r>
              <a:rPr lang="en-US" sz="1400" dirty="0" err="1">
                <a:solidFill>
                  <a:schemeClr val="tx2"/>
                </a:solidFill>
              </a:rPr>
              <a:t>Cashflows</a:t>
            </a:r>
            <a:r>
              <a:rPr lang="en-US" sz="1400" dirty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coupons, notional exchange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endParaRPr lang="en-US" sz="1400" dirty="0">
              <a:solidFill>
                <a:schemeClr val="tx2"/>
              </a:solidFill>
            </a:endParaRPr>
          </a:p>
          <a:p>
            <a:endParaRPr lang="ru-RU" sz="1400" dirty="0">
              <a:solidFill>
                <a:schemeClr val="tx2"/>
              </a:solidFill>
            </a:endParaRPr>
          </a:p>
          <a:p>
            <a:endParaRPr lang="ru-RU" sz="1400" dirty="0" err="1">
              <a:solidFill>
                <a:schemeClr val="tx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75317" y="2318077"/>
            <a:ext cx="6099288" cy="4200518"/>
          </a:xfrm>
          <a:prstGeom prst="rect">
            <a:avLst/>
          </a:prstGeom>
          <a:solidFill>
            <a:srgbClr val="E6E5E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24429" y="2432708"/>
            <a:ext cx="34432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Реализация в </a:t>
            </a:r>
            <a:r>
              <a:rPr lang="en-US" sz="1400" b="1" dirty="0">
                <a:solidFill>
                  <a:schemeClr val="tx2"/>
                </a:solidFill>
              </a:rPr>
              <a:t>Pricing Service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00713" y="2760802"/>
            <a:ext cx="5149424" cy="3662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# Get market observables the payoff needs </a:t>
            </a:r>
          </a:p>
          <a:p>
            <a:r>
              <a:rPr lang="en-US" sz="1400" dirty="0">
                <a:solidFill>
                  <a:schemeClr val="tx2"/>
                </a:solidFill>
              </a:rPr>
              <a:t>s1 = spot(“SBER_RUB”, “01/03/2023”)</a:t>
            </a:r>
          </a:p>
          <a:p>
            <a:r>
              <a:rPr lang="en-US" sz="1400" dirty="0">
                <a:solidFill>
                  <a:schemeClr val="tx2"/>
                </a:solidFill>
              </a:rPr>
              <a:t>s2 = future(“FUT:USDRUB:1M”, “01/03/2024”)</a:t>
            </a:r>
          </a:p>
          <a:p>
            <a:r>
              <a:rPr lang="en-US" sz="1400" dirty="0">
                <a:solidFill>
                  <a:schemeClr val="tx2"/>
                </a:solidFill>
              </a:rPr>
              <a:t>s3 = spot(“RUB_KEY_RATE”, “01/03/2023”)</a:t>
            </a:r>
          </a:p>
          <a:p>
            <a:endParaRPr lang="en-US" sz="1400" dirty="0">
              <a:solidFill>
                <a:schemeClr val="tx2"/>
              </a:solidFill>
            </a:endParaRPr>
          </a:p>
          <a:p>
            <a:r>
              <a:rPr lang="en-US" sz="1400" dirty="0">
                <a:solidFill>
                  <a:schemeClr val="tx2"/>
                </a:solidFill>
              </a:rPr>
              <a:t># Check barriers, or other conditions, log probabilities if needed</a:t>
            </a:r>
          </a:p>
          <a:p>
            <a:r>
              <a:rPr lang="en-US" sz="1400" dirty="0" err="1">
                <a:solidFill>
                  <a:schemeClr val="tx2"/>
                </a:solidFill>
              </a:rPr>
              <a:t>log_info</a:t>
            </a:r>
            <a:r>
              <a:rPr lang="en-US" sz="1400" dirty="0">
                <a:solidFill>
                  <a:schemeClr val="tx2"/>
                </a:solidFill>
              </a:rPr>
              <a:t>(s1&gt;140, “Coupon probability”, “03/03/2023”)</a:t>
            </a:r>
          </a:p>
          <a:p>
            <a:r>
              <a:rPr lang="en-US" sz="1400" dirty="0">
                <a:solidFill>
                  <a:schemeClr val="tx2"/>
                </a:solidFill>
              </a:rPr>
              <a:t># pay exotic coupons</a:t>
            </a:r>
          </a:p>
          <a:p>
            <a:r>
              <a:rPr lang="en-US" sz="1400" dirty="0">
                <a:solidFill>
                  <a:schemeClr val="tx2"/>
                </a:solidFill>
              </a:rPr>
              <a:t>If s1&gt;140:</a:t>
            </a:r>
          </a:p>
          <a:p>
            <a:r>
              <a:rPr lang="en-US" sz="1400" dirty="0">
                <a:solidFill>
                  <a:schemeClr val="tx2"/>
                </a:solidFill>
              </a:rPr>
              <a:t>    pay(s1-140, “RUB”, “03/03/2023” , “exotic coupon”) </a:t>
            </a:r>
          </a:p>
          <a:p>
            <a:r>
              <a:rPr lang="en-US" sz="1400" dirty="0">
                <a:solidFill>
                  <a:schemeClr val="tx2"/>
                </a:solidFill>
              </a:rPr>
              <a:t>Else:</a:t>
            </a:r>
          </a:p>
          <a:p>
            <a:r>
              <a:rPr lang="en-US" sz="1400" dirty="0">
                <a:solidFill>
                  <a:schemeClr val="tx2"/>
                </a:solidFill>
              </a:rPr>
              <a:t>    pay(s1 / s2, “USD”, “05/3/2024”, “can be paid in different </a:t>
            </a:r>
            <a:r>
              <a:rPr lang="en-US" sz="1400" dirty="0" err="1">
                <a:solidFill>
                  <a:schemeClr val="tx2"/>
                </a:solidFill>
              </a:rPr>
              <a:t>ccys</a:t>
            </a:r>
            <a:r>
              <a:rPr lang="en-US" sz="1400" dirty="0">
                <a:solidFill>
                  <a:schemeClr val="tx2"/>
                </a:solidFill>
              </a:rPr>
              <a:t>”)</a:t>
            </a:r>
          </a:p>
          <a:p>
            <a:endParaRPr lang="en-US" sz="1400" dirty="0">
              <a:solidFill>
                <a:schemeClr val="tx2"/>
              </a:solidFill>
            </a:endParaRPr>
          </a:p>
          <a:p>
            <a:r>
              <a:rPr lang="en-US" sz="1400" dirty="0">
                <a:solidFill>
                  <a:schemeClr val="tx2"/>
                </a:solidFill>
              </a:rPr>
              <a:t># Check “</a:t>
            </a:r>
            <a:r>
              <a:rPr lang="en-US" sz="1400" dirty="0" err="1">
                <a:solidFill>
                  <a:schemeClr val="tx2"/>
                </a:solidFill>
              </a:rPr>
              <a:t>american</a:t>
            </a:r>
            <a:r>
              <a:rPr lang="en-US" sz="1400" dirty="0">
                <a:solidFill>
                  <a:schemeClr val="tx2"/>
                </a:solidFill>
              </a:rPr>
              <a:t> style” optionality:</a:t>
            </a:r>
          </a:p>
          <a:p>
            <a:r>
              <a:rPr lang="en-US" sz="1400" dirty="0">
                <a:solidFill>
                  <a:schemeClr val="tx2"/>
                </a:solidFill>
              </a:rPr>
              <a:t>If </a:t>
            </a:r>
            <a:r>
              <a:rPr lang="en-US" sz="1400" dirty="0" err="1">
                <a:solidFill>
                  <a:schemeClr val="tx2"/>
                </a:solidFill>
              </a:rPr>
              <a:t>continuation_value</a:t>
            </a:r>
            <a:r>
              <a:rPr lang="en-US" sz="1400" dirty="0">
                <a:solidFill>
                  <a:schemeClr val="tx2"/>
                </a:solidFill>
              </a:rPr>
              <a:t>(“01/12/2022”) &lt; 0:</a:t>
            </a:r>
          </a:p>
          <a:p>
            <a:r>
              <a:rPr lang="en-US" sz="1400" dirty="0">
                <a:solidFill>
                  <a:schemeClr val="tx2"/>
                </a:solidFill>
              </a:rPr>
              <a:t>    # want to early terminate</a:t>
            </a:r>
          </a:p>
          <a:p>
            <a:r>
              <a:rPr lang="en-US" sz="1400" dirty="0">
                <a:solidFill>
                  <a:schemeClr val="tx2"/>
                </a:solidFill>
              </a:rPr>
              <a:t>    retur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03649" y="645005"/>
            <a:ext cx="1084156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Все ПФИ описаны внутри </a:t>
            </a:r>
            <a:r>
              <a:rPr lang="en-US" sz="1400" dirty="0">
                <a:solidFill>
                  <a:schemeClr val="tx2"/>
                </a:solidFill>
              </a:rPr>
              <a:t>PS</a:t>
            </a:r>
            <a:r>
              <a:rPr lang="ru-RU" sz="1400" dirty="0">
                <a:solidFill>
                  <a:schemeClr val="tx2"/>
                </a:solidFill>
              </a:rPr>
              <a:t> единообразно, используя специально разработанный язык. Продукт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на языке </a:t>
            </a:r>
            <a:r>
              <a:rPr lang="en-US" sz="1400" dirty="0">
                <a:solidFill>
                  <a:schemeClr val="tx2"/>
                </a:solidFill>
              </a:rPr>
              <a:t>PS</a:t>
            </a:r>
            <a:r>
              <a:rPr lang="ru-RU" sz="1400" dirty="0">
                <a:solidFill>
                  <a:schemeClr val="tx2"/>
                </a:solidFill>
              </a:rPr>
              <a:t> получает полноценное «гражданство» в системе</a:t>
            </a:r>
            <a:r>
              <a:rPr lang="en-US" sz="1400" dirty="0">
                <a:solidFill>
                  <a:schemeClr val="tx2"/>
                </a:solidFill>
              </a:rPr>
              <a:t>: </a:t>
            </a:r>
            <a:r>
              <a:rPr lang="ru-RU" sz="1400" dirty="0">
                <a:solidFill>
                  <a:schemeClr val="tx2"/>
                </a:solidFill>
              </a:rPr>
              <a:t>будет работать оценка, риск, </a:t>
            </a:r>
            <a:r>
              <a:rPr lang="en-US" sz="1400" dirty="0">
                <a:solidFill>
                  <a:schemeClr val="tx2"/>
                </a:solidFill>
              </a:rPr>
              <a:t>PNL explain, </a:t>
            </a:r>
            <a:r>
              <a:rPr lang="en-US" sz="1400" dirty="0" err="1">
                <a:solidFill>
                  <a:schemeClr val="tx2"/>
                </a:solidFill>
              </a:rPr>
              <a:t>xVA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endParaRPr lang="en-US" sz="1400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Язык </a:t>
            </a:r>
            <a:r>
              <a:rPr lang="en-US" sz="1400" dirty="0">
                <a:solidFill>
                  <a:schemeClr val="tx2"/>
                </a:solidFill>
              </a:rPr>
              <a:t>PS </a:t>
            </a:r>
            <a:r>
              <a:rPr lang="ru-RU" sz="1400" dirty="0">
                <a:solidFill>
                  <a:schemeClr val="tx2"/>
                </a:solidFill>
              </a:rPr>
              <a:t>достаточно богат для описания ПФИ практически любой сложности, включая </a:t>
            </a:r>
            <a:r>
              <a:rPr lang="en-US" sz="1400" dirty="0">
                <a:solidFill>
                  <a:schemeClr val="tx2"/>
                </a:solidFill>
              </a:rPr>
              <a:t>callable/puttable</a:t>
            </a:r>
            <a:r>
              <a:rPr lang="ru-RU" sz="1400" dirty="0">
                <a:solidFill>
                  <a:schemeClr val="tx2"/>
                </a:solidFill>
              </a:rPr>
              <a:t> структуры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есть возможность рекурсивного описания (</a:t>
            </a:r>
            <a:r>
              <a:rPr lang="ru-RU" sz="1400" dirty="0" err="1">
                <a:solidFill>
                  <a:schemeClr val="tx2"/>
                </a:solidFill>
              </a:rPr>
              <a:t>свопцион</a:t>
            </a:r>
            <a:r>
              <a:rPr lang="ru-RU" sz="1400" dirty="0">
                <a:solidFill>
                  <a:schemeClr val="tx2"/>
                </a:solidFill>
              </a:rPr>
              <a:t> – опцион на своп</a:t>
            </a:r>
            <a:r>
              <a:rPr lang="en-US" sz="1400" dirty="0">
                <a:solidFill>
                  <a:schemeClr val="tx2"/>
                </a:solidFill>
              </a:rPr>
              <a:t>, </a:t>
            </a:r>
            <a:r>
              <a:rPr lang="en-US" sz="1400" dirty="0" err="1">
                <a:solidFill>
                  <a:schemeClr val="tx2"/>
                </a:solidFill>
              </a:rPr>
              <a:t>xVA</a:t>
            </a:r>
            <a:r>
              <a:rPr lang="en-US" sz="1400" dirty="0">
                <a:solidFill>
                  <a:schemeClr val="tx2"/>
                </a:solidFill>
              </a:rPr>
              <a:t> -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трип</a:t>
            </a:r>
            <a:r>
              <a:rPr lang="ru-RU" sz="1400" dirty="0">
                <a:solidFill>
                  <a:schemeClr val="tx2"/>
                </a:solidFill>
              </a:rPr>
              <a:t> опционов на портфель)</a:t>
            </a:r>
            <a:endParaRPr lang="en-US" sz="1400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Новые продукты могут быть выведены в ПРОМ за несколько дней</a:t>
            </a:r>
            <a:endParaRPr lang="ru-RU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118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792" y="185970"/>
            <a:ext cx="9995050" cy="438582"/>
          </a:xfrm>
        </p:spPr>
        <p:txBody>
          <a:bodyPr>
            <a:normAutofit fontScale="90000"/>
          </a:bodyPr>
          <a:lstStyle/>
          <a:p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абрика моделей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итаем описание ПФИ,</a:t>
            </a:r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троим модель автоматическ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03649" y="833251"/>
            <a:ext cx="1084156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PS</a:t>
            </a:r>
            <a:r>
              <a:rPr lang="ru-RU" sz="1400" dirty="0">
                <a:solidFill>
                  <a:schemeClr val="tx2"/>
                </a:solidFill>
              </a:rPr>
              <a:t> анализирует описание ПФИ и собирает и калибрует необходимую модель из элементарных </a:t>
            </a:r>
            <a:r>
              <a:rPr lang="ru-RU" sz="1400" dirty="0" err="1">
                <a:solidFill>
                  <a:schemeClr val="tx2"/>
                </a:solidFill>
              </a:rPr>
              <a:t>стох</a:t>
            </a:r>
            <a:r>
              <a:rPr lang="ru-RU" sz="1400" dirty="0">
                <a:solidFill>
                  <a:schemeClr val="tx2"/>
                </a:solidFill>
              </a:rPr>
              <a:t>. дифференциальных уравнений динамики отдельных риск факторов. При этом полученная модель оптимизирована под конкретный ПФИ в работе для максимальной скорости расчетов.</a:t>
            </a:r>
          </a:p>
          <a:p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Подход позволяет оперативно добавлять</a:t>
            </a:r>
            <a:r>
              <a:rPr lang="en-US" sz="1400" dirty="0">
                <a:solidFill>
                  <a:schemeClr val="tx2"/>
                </a:solidFill>
              </a:rPr>
              <a:t>/</a:t>
            </a:r>
            <a:r>
              <a:rPr lang="ru-RU" sz="1400" dirty="0">
                <a:solidFill>
                  <a:schemeClr val="tx2"/>
                </a:solidFill>
              </a:rPr>
              <a:t>дорабатывать риск факторы</a:t>
            </a:r>
            <a:r>
              <a:rPr lang="en-US" sz="1400" dirty="0">
                <a:solidFill>
                  <a:schemeClr val="tx2"/>
                </a:solidFill>
              </a:rPr>
              <a:t>.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Как только уравнение динамики риск фактора добавлено в </a:t>
            </a:r>
            <a:r>
              <a:rPr lang="en-US" sz="1400" dirty="0">
                <a:solidFill>
                  <a:schemeClr val="tx2"/>
                </a:solidFill>
              </a:rPr>
              <a:t>PS </a:t>
            </a:r>
            <a:r>
              <a:rPr lang="ru-RU" sz="1400" dirty="0">
                <a:solidFill>
                  <a:schemeClr val="tx2"/>
                </a:solidFill>
              </a:rPr>
              <a:t>будет работать оценка, риск, </a:t>
            </a:r>
            <a:r>
              <a:rPr lang="en-US" sz="1400" dirty="0">
                <a:solidFill>
                  <a:schemeClr val="tx2"/>
                </a:solidFill>
              </a:rPr>
              <a:t>PNL explain, </a:t>
            </a:r>
            <a:r>
              <a:rPr lang="en-US" sz="1400" dirty="0" err="1">
                <a:solidFill>
                  <a:schemeClr val="tx2"/>
                </a:solidFill>
              </a:rPr>
              <a:t>xVA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en-US" sz="1400" dirty="0" err="1">
                <a:solidFill>
                  <a:schemeClr val="tx2"/>
                </a:solidFill>
              </a:rPr>
              <a:t>etc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en-US" sz="1400" dirty="0">
              <a:solidFill>
                <a:schemeClr val="tx2"/>
              </a:solidFill>
            </a:endParaRPr>
          </a:p>
          <a:p>
            <a:endParaRPr lang="en-US" sz="1400" dirty="0">
              <a:solidFill>
                <a:schemeClr val="tx2"/>
              </a:solidFill>
            </a:endParaRPr>
          </a:p>
          <a:p>
            <a:r>
              <a:rPr lang="en-US" sz="1400" dirty="0">
                <a:solidFill>
                  <a:schemeClr val="tx2"/>
                </a:solidFill>
              </a:rPr>
              <a:t>[</a:t>
            </a:r>
            <a:r>
              <a:rPr lang="ru-RU" sz="1400" dirty="0">
                <a:solidFill>
                  <a:schemeClr val="tx2"/>
                </a:solidFill>
              </a:rPr>
              <a:t>Уравнения для риск факторов идут ниже</a:t>
            </a:r>
            <a:r>
              <a:rPr lang="en-US" sz="1400" dirty="0">
                <a:solidFill>
                  <a:schemeClr val="tx2"/>
                </a:solidFill>
              </a:rPr>
              <a:t>]</a:t>
            </a:r>
          </a:p>
          <a:p>
            <a:r>
              <a:rPr lang="ru-RU" sz="1400" dirty="0">
                <a:solidFill>
                  <a:schemeClr val="tx2"/>
                </a:solidFill>
              </a:rPr>
              <a:t>,  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9DDF06-BD92-184C-8989-2A9AD818EE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801" y="2772243"/>
            <a:ext cx="7286499" cy="3519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9527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жет понадобиться</a:t>
            </a:r>
          </a:p>
        </p:txBody>
      </p:sp>
    </p:spTree>
    <p:extLst>
      <p:ext uri="{BB962C8B-B14F-4D97-AF65-F5344CB8AC3E}">
        <p14:creationId xmlns:p14="http://schemas.microsoft.com/office/powerpoint/2010/main" val="17071264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720170" y="1648273"/>
                <a:ext cx="8854722" cy="33885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Управление вариациями (</a:t>
                </a:r>
                <a:r>
                  <a:rPr lang="en-US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ontrol</a:t>
                </a: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en-US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Variate</a:t>
                </a: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) 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использование коррелированной случайной величины с известным средним (например, европейский опцион для американского опциона)</a:t>
                </a:r>
                <a:r>
                  <a:rPr lang="en-US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. 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 предельном случае получается расчет по аналитической модели</a:t>
                </a:r>
              </a:p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ыборка по значимости (</a:t>
                </a:r>
                <a:r>
                  <a:rPr lang="en-US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Importance sampling</a:t>
                </a: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)</a:t>
                </a:r>
                <a:r>
                  <a:rPr lang="en-US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использование траекторий в окрестности которых </a:t>
                </a:r>
                <a:r>
                  <a:rPr lang="ru-RU" dirty="0" err="1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дериватив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существенно меняется</a:t>
                </a:r>
              </a:p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авномерно-распределенные последовательности 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– дисперсия среднего псевдослучайной последовательности </a:t>
                </a:r>
                <a14:m>
                  <m:oMath xmlns:m="http://schemas.openxmlformats.org/officeDocument/2006/math">
                    <m:r>
                      <a:rPr lang="ru-RU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1</m:t>
                    </m:r>
                    <m:r>
                      <a:rPr lang="en-US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/</m:t>
                    </m:r>
                    <m:rad>
                      <m:radPr>
                        <m:degHide m:val="on"/>
                        <m:ctrlP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radPr>
                      <m:deg/>
                      <m:e>
                        <m:r>
                          <a:rPr lang="en-US" b="0" i="1" smtClean="0">
                            <a:solidFill>
                              <a:srgbClr val="575757">
                                <a:lumMod val="50000"/>
                              </a:srgb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𝑁</m:t>
                        </m:r>
                      </m:e>
                    </m:rad>
                  </m:oMath>
                </a14:m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 ошибка среднего </a:t>
                </a:r>
                <a:r>
                  <a:rPr lang="ru-RU" dirty="0" err="1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р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последовательности </a:t>
                </a:r>
                <a14:m>
                  <m:oMath xmlns:m="http://schemas.openxmlformats.org/officeDocument/2006/math">
                    <m:r>
                      <a:rPr lang="ru-RU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1</m:t>
                    </m:r>
                    <m:r>
                      <a:rPr lang="en-US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/</m:t>
                    </m:r>
                    <m:r>
                      <a:rPr lang="en-US" b="0" i="1" smtClean="0">
                        <a:solidFill>
                          <a:srgbClr val="575757">
                            <a:lumMod val="50000"/>
                          </a:srgb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𝑁</m:t>
                    </m:r>
                  </m:oMath>
                </a14:m>
                <a:endParaRPr lang="ru-RU" dirty="0">
                  <a:solidFill>
                    <a:srgbClr val="575757">
                      <a:lumMod val="50000"/>
                    </a:srgb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marL="285750" indent="-285750">
                  <a:spcAft>
                    <a:spcPts val="1270"/>
                  </a:spcAft>
                  <a:buFont typeface="Arial" panose="020B0604020202020204" pitchFamily="34" charset="0"/>
                  <a:buChar char="•"/>
                </a:pPr>
                <a:r>
                  <a:rPr lang="ru-RU" dirty="0"/>
                  <a:t>Противоположные выборки (</a:t>
                </a:r>
                <a:r>
                  <a:rPr lang="en-US" dirty="0"/>
                  <a:t>Antithetic variates</a:t>
                </a:r>
                <a:r>
                  <a:rPr lang="ru-RU" dirty="0"/>
                  <a:t>) – 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генерация симметричных </a:t>
                </a:r>
                <a:r>
                  <a:rPr lang="ru-RU" dirty="0" err="1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антикоррелирующих</a:t>
                </a:r>
                <a:r>
                  <a:rPr lang="ru-RU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выборок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170" y="1648273"/>
                <a:ext cx="8854722" cy="3388556"/>
              </a:xfrm>
              <a:prstGeom prst="rect">
                <a:avLst/>
              </a:prstGeom>
              <a:blipFill>
                <a:blip r:embed="rId2"/>
                <a:stretch>
                  <a:fillRect l="-413" t="-899" r="-1032" b="-19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519373"/>
          </a:xfrm>
        </p:spPr>
        <p:txBody>
          <a:bodyPr/>
          <a:lstStyle/>
          <a:p>
            <a:pPr lvl="0">
              <a:defRPr/>
            </a:pPr>
            <a:r>
              <a:rPr lang="ru-RU" sz="3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етоды ускорения американского Монте-Карл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5021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20170" y="1648273"/>
            <a:ext cx="8854722" cy="52116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корость расчета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- линейно зависит от размерности модели рынка (методы на деревьях - экспоненциально), есть возможность распараллеливать вычисления </a:t>
            </a:r>
            <a:endParaRPr lang="en-US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ниверсальность для продуктов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 подходит для любого типа </a:t>
            </a:r>
            <a:r>
              <a:rPr lang="ru-RU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а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выплаты по которому зависят от конечномерного </a:t>
            </a:r>
            <a:r>
              <a:rPr lang="ru-RU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арковского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процесса)</a:t>
            </a: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ость модели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– можно задавать любую стохастичную динамику базовых активов (на практике надо проверять сходимость)</a:t>
            </a: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b="1" dirty="0">
                <a:latin typeface="SB Sans Display Light" panose="020B0303040504020204"/>
              </a:rPr>
              <a:t>Масштабируемость </a:t>
            </a:r>
            <a:r>
              <a:rPr lang="ru-RU" dirty="0">
                <a:latin typeface="SB Sans Display Light" panose="020B0303040504020204"/>
              </a:rPr>
              <a:t>– легко добавляется риск-факторы и новые продукты</a:t>
            </a: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SB Sans Display Light" panose="020B0303040504020204"/>
              </a:rPr>
              <a:t>… 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1270"/>
              </a:spcAft>
              <a:buFont typeface="Arial" panose="020B0604020202020204" pitchFamily="34" charset="0"/>
              <a:buChar char="•"/>
            </a:pP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70"/>
              </a:spcAft>
            </a:pP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1270"/>
              </a:spcAft>
            </a:pP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519373"/>
          </a:xfrm>
        </p:spPr>
        <p:txBody>
          <a:bodyPr/>
          <a:lstStyle/>
          <a:p>
            <a:pPr lvl="0">
              <a:defRPr/>
            </a:pPr>
            <a:r>
              <a:rPr lang="ru-RU" sz="3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обенности американского Монте-Карл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901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36652"/>
            <a:ext cx="10515600" cy="448200"/>
          </a:xfrm>
        </p:spPr>
        <p:txBody>
          <a:bodyPr/>
          <a:lstStyle/>
          <a:p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волюция моделей оценки стоимости </a:t>
            </a:r>
            <a:r>
              <a:rPr lang="ru-RU" sz="25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еривативов</a:t>
            </a:r>
            <a:endParaRPr lang="ru-RU" sz="25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442913" y="965208"/>
          <a:ext cx="11185748" cy="5639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6437">
                  <a:extLst>
                    <a:ext uri="{9D8B030D-6E8A-4147-A177-3AD203B41FA5}">
                      <a16:colId xmlns:a16="http://schemas.microsoft.com/office/drawing/2014/main" val="3793678486"/>
                    </a:ext>
                  </a:extLst>
                </a:gridCol>
                <a:gridCol w="2796437">
                  <a:extLst>
                    <a:ext uri="{9D8B030D-6E8A-4147-A177-3AD203B41FA5}">
                      <a16:colId xmlns:a16="http://schemas.microsoft.com/office/drawing/2014/main" val="479699524"/>
                    </a:ext>
                  </a:extLst>
                </a:gridCol>
                <a:gridCol w="2796437">
                  <a:extLst>
                    <a:ext uri="{9D8B030D-6E8A-4147-A177-3AD203B41FA5}">
                      <a16:colId xmlns:a16="http://schemas.microsoft.com/office/drawing/2014/main" val="1038712225"/>
                    </a:ext>
                  </a:extLst>
                </a:gridCol>
                <a:gridCol w="2796437">
                  <a:extLst>
                    <a:ext uri="{9D8B030D-6E8A-4147-A177-3AD203B41FA5}">
                      <a16:colId xmlns:a16="http://schemas.microsoft.com/office/drawing/2014/main" val="3788598295"/>
                    </a:ext>
                  </a:extLst>
                </a:gridCol>
              </a:tblGrid>
              <a:tr h="600576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Эволюция</a:t>
                      </a:r>
                      <a:r>
                        <a:rPr lang="ru-RU" baseline="0" dirty="0"/>
                        <a:t> </a:t>
                      </a:r>
                      <a:r>
                        <a:rPr lang="ru-RU" baseline="0" dirty="0" err="1"/>
                        <a:t>пейоффов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Эволюция моделей</a:t>
                      </a:r>
                      <a:r>
                        <a:rPr lang="ru-RU" baseline="0" dirty="0"/>
                        <a:t> рынков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Эволюция</a:t>
                      </a:r>
                      <a:r>
                        <a:rPr lang="ru-RU" baseline="0" dirty="0"/>
                        <a:t> </a:t>
                      </a:r>
                      <a:r>
                        <a:rPr lang="ru-RU" dirty="0"/>
                        <a:t>методов</a:t>
                      </a:r>
                      <a:r>
                        <a:rPr lang="ru-RU" baseline="0" dirty="0"/>
                        <a:t> </a:t>
                      </a:r>
                      <a:r>
                        <a:rPr lang="ru-RU" baseline="0" dirty="0" err="1"/>
                        <a:t>прайсинга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Текуще</a:t>
                      </a:r>
                      <a:r>
                        <a:rPr lang="ru-RU" baseline="0" dirty="0"/>
                        <a:t>е использование</a:t>
                      </a:r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9727570"/>
                  </a:ext>
                </a:extLst>
              </a:tr>
              <a:tr h="999879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вропейские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цион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днофакторные модели рынка с постоянной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лой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налитический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/>
                        <a:t>Бенчмарк</a:t>
                      </a:r>
                      <a:r>
                        <a:rPr lang="ru-RU" dirty="0"/>
                        <a:t>, применяется для ускорения расчето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381524"/>
                  </a:ext>
                </a:extLst>
              </a:tr>
              <a:tr h="999879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мериканские  опцион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Одно</a:t>
                      </a:r>
                      <a:r>
                        <a:rPr lang="en-US" dirty="0"/>
                        <a:t>/</a:t>
                      </a:r>
                      <a:r>
                        <a:rPr lang="ru-RU" dirty="0"/>
                        <a:t>двух</a:t>
                      </a:r>
                      <a:r>
                        <a:rPr lang="ru-RU" baseline="0" dirty="0"/>
                        <a:t>-</a:t>
                      </a:r>
                      <a:r>
                        <a:rPr lang="ru-RU" dirty="0"/>
                        <a:t>факторные</a:t>
                      </a:r>
                      <a:r>
                        <a:rPr lang="ru-RU" baseline="0" dirty="0"/>
                        <a:t> модели, л</a:t>
                      </a:r>
                      <a:r>
                        <a:rPr lang="ru-RU" dirty="0"/>
                        <a:t>окальная волатильност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тоды конечных разностей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одели на деревья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уется для 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оделей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изкой размерности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9658248"/>
                  </a:ext>
                </a:extLst>
              </a:tr>
              <a:tr h="999879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кзотические опцион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Многофакторные</a:t>
                      </a:r>
                      <a:r>
                        <a:rPr lang="ru-RU" b="1" baseline="0" dirty="0"/>
                        <a:t> модели со </a:t>
                      </a:r>
                      <a:r>
                        <a:rPr lang="ru-RU" b="1" baseline="0" dirty="0" err="1"/>
                        <a:t>с</a:t>
                      </a:r>
                      <a:r>
                        <a:rPr lang="ru-RU" b="1" dirty="0" err="1"/>
                        <a:t>тохаст</a:t>
                      </a:r>
                      <a:r>
                        <a:rPr lang="ru-RU" b="1" dirty="0"/>
                        <a:t>.</a:t>
                      </a:r>
                      <a:r>
                        <a:rPr lang="ru-RU" b="1" baseline="0" dirty="0"/>
                        <a:t> волатильностью</a:t>
                      </a:r>
                      <a:endParaRPr lang="ru-RU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erican Monte Carlo</a:t>
                      </a:r>
                      <a:endParaRPr lang="ru-RU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учшая</a:t>
                      </a:r>
                      <a:r>
                        <a:rPr lang="ru-RU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рактика</a:t>
                      </a:r>
                      <a:endParaRPr lang="ru-RU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7852388"/>
                  </a:ext>
                </a:extLst>
              </a:tr>
              <a:tr h="999879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струменты с транзакционными издержками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d-ask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Рыночная модель с транзакционными издержкам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учение с подкрепление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тимальный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аркет-мейкинг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065433"/>
                  </a:ext>
                </a:extLst>
              </a:tr>
              <a:tr h="999879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Сделки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лияющие на рынок (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ice</a:t>
                      </a:r>
                      <a:r>
                        <a:rPr lang="en-US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mpact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икроструктурные модели рынка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ульти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гентное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обучение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с подкрепление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адемические разработки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закрытие большой заявки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331429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2497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4F3307-D342-A34A-84E0-5FBBD262C0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3498" y="252031"/>
            <a:ext cx="9746256" cy="1081009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 CVA - </a:t>
            </a:r>
            <a:r>
              <a:rPr lang="ru-RU" sz="32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овая платформа для расчета </a:t>
            </a:r>
            <a:r>
              <a:rPr lang="en-US" sz="32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br>
              <a:rPr lang="en-US" sz="32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ecutive summary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2B9EABB-1404-F047-9621-2E0FD58E4A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9937" y="1631873"/>
            <a:ext cx="10814891" cy="4846045"/>
          </a:xfrm>
        </p:spPr>
        <p:txBody>
          <a:bodyPr/>
          <a:lstStyle/>
          <a:p>
            <a:pPr algn="l"/>
            <a:r>
              <a:rPr lang="ru-RU" dirty="0"/>
              <a:t>Часть 1</a:t>
            </a:r>
            <a:r>
              <a:rPr lang="en-US" dirty="0"/>
              <a:t>:</a:t>
            </a:r>
            <a:endParaRPr lang="ru-RU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dirty="0"/>
              <a:t>Запустили новую </a:t>
            </a:r>
            <a:r>
              <a:rPr lang="en-US" dirty="0"/>
              <a:t>in-house </a:t>
            </a:r>
            <a:r>
              <a:rPr lang="ru-RU" dirty="0"/>
              <a:t>платформу для расчета </a:t>
            </a:r>
            <a:r>
              <a:rPr lang="en-US" dirty="0"/>
              <a:t>CVA</a:t>
            </a:r>
            <a:endParaRPr lang="ru-RU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dirty="0"/>
              <a:t>Реализовали все типологии для портфельного и </a:t>
            </a:r>
            <a:r>
              <a:rPr lang="ru-RU" dirty="0" err="1"/>
              <a:t>прайсингового</a:t>
            </a:r>
            <a:r>
              <a:rPr lang="ru-RU" dirty="0"/>
              <a:t> расчета</a:t>
            </a: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dirty="0"/>
              <a:t>Перевели без потерь на нее всех пользователей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dirty="0"/>
              <a:t>Снизили время расчета с 9 часов до 15 минут</a:t>
            </a:r>
          </a:p>
          <a:p>
            <a:pPr algn="l"/>
            <a:r>
              <a:rPr lang="ru-RU" dirty="0"/>
              <a:t>Часть</a:t>
            </a:r>
            <a:r>
              <a:rPr lang="en-US" dirty="0"/>
              <a:t> </a:t>
            </a:r>
            <a:r>
              <a:rPr lang="ru-RU" dirty="0"/>
              <a:t>2</a:t>
            </a:r>
            <a:r>
              <a:rPr lang="en-US" dirty="0"/>
              <a:t>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dirty="0"/>
              <a:t>Математические и программистские аспекты реализации</a:t>
            </a:r>
            <a:r>
              <a:rPr lang="en-US" dirty="0"/>
              <a:t>, </a:t>
            </a:r>
            <a:r>
              <a:rPr lang="ru-RU" dirty="0"/>
              <a:t>которые позволили добиться таких результатов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lgorithmic </a:t>
            </a:r>
            <a:r>
              <a:rPr lang="en-US" dirty="0" err="1"/>
              <a:t>autodifferentiation</a:t>
            </a:r>
            <a:r>
              <a:rPr lang="en-US" dirty="0"/>
              <a:t> (AAD)</a:t>
            </a:r>
            <a:endParaRPr lang="ru-RU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merican Monte Carlo (AMC)</a:t>
            </a:r>
          </a:p>
        </p:txBody>
      </p:sp>
    </p:spTree>
    <p:extLst>
      <p:ext uri="{BB962C8B-B14F-4D97-AF65-F5344CB8AC3E}">
        <p14:creationId xmlns:p14="http://schemas.microsoft.com/office/powerpoint/2010/main" val="3763179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455936" y="3969154"/>
            <a:ext cx="1126095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ючевые особенности архитектуры</a:t>
            </a:r>
            <a:endParaRPr lang="en-US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пределенные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 в «облаке». Протокол взаимодействия легко поддерживает сложные, долгие вычисления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ация алгоритмов использует </a:t>
            </a:r>
            <a:r>
              <a:rPr lang="ru-RU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екторизованные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я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риска с помощью технологий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дифференцирования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</a:t>
            </a:r>
            <a:r>
              <a:rPr lang="en-US" sz="14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 сложных продуктов и рисков при помощи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merican Monte-Carlo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ределение типов деривативных продуктов (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ayoff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 отделено от модели базовых активов 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ий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PI: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гко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отипировать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легко использовать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ирокие возможности для интеграции с системами Банка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</a:t>
            </a:r>
            <a: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вычислительная платформа как сервис</a:t>
            </a:r>
            <a:br>
              <a:rPr lang="ru-RU" sz="2500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endParaRPr lang="ru-RU" sz="2500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778694" y="763141"/>
            <a:ext cx="10639521" cy="3128982"/>
            <a:chOff x="790733" y="872800"/>
            <a:chExt cx="10639521" cy="3128982"/>
          </a:xfrm>
        </p:grpSpPr>
        <p:sp>
          <p:nvSpPr>
            <p:cNvPr id="6" name="Left-Right Arrow 5"/>
            <p:cNvSpPr/>
            <p:nvPr/>
          </p:nvSpPr>
          <p:spPr>
            <a:xfrm>
              <a:off x="4786819" y="2191437"/>
              <a:ext cx="1029226" cy="554411"/>
            </a:xfrm>
            <a:prstGeom prst="left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6054609" y="872800"/>
              <a:ext cx="5375645" cy="2894073"/>
              <a:chOff x="6054609" y="872800"/>
              <a:chExt cx="5375645" cy="2894073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6410157" y="1042470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6098455" y="1088738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6054609" y="1148060"/>
                <a:ext cx="4750541" cy="261881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6339481" y="1300747"/>
                <a:ext cx="2448271" cy="2313440"/>
                <a:chOff x="6339481" y="1300747"/>
                <a:chExt cx="2448271" cy="2313440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6358449" y="1300747"/>
                  <a:ext cx="2429303" cy="2313440"/>
                </a:xfrm>
                <a:prstGeom prst="rect">
                  <a:avLst/>
                </a:prstGeom>
                <a:ln>
                  <a:noFill/>
                </a:ln>
                <a:effectLst/>
              </p:spPr>
            </p:sp>
            <p:sp>
              <p:nvSpPr>
                <p:cNvPr id="42" name="Freeform 41"/>
                <p:cNvSpPr/>
                <p:nvPr/>
              </p:nvSpPr>
              <p:spPr>
                <a:xfrm>
                  <a:off x="6867526" y="1467397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torage</a:t>
                  </a:r>
                </a:p>
              </p:txBody>
            </p:sp>
            <p:sp>
              <p:nvSpPr>
                <p:cNvPr id="43" name="Freeform 42"/>
                <p:cNvSpPr/>
                <p:nvPr/>
              </p:nvSpPr>
              <p:spPr>
                <a:xfrm>
                  <a:off x="6339481" y="1481841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546018" y="380559"/>
                      </a:moveTo>
                      <a:arcTo wR="841818" hR="841818" stAng="19606486" swAng="1010864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4" name="Freeform 43"/>
                <p:cNvSpPr/>
                <p:nvPr/>
              </p:nvSpPr>
              <p:spPr>
                <a:xfrm>
                  <a:off x="7668325" y="2165151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nalytical Core</a:t>
                  </a:r>
                </a:p>
              </p:txBody>
            </p:sp>
            <p:sp>
              <p:nvSpPr>
                <p:cNvPr id="45" name="Freeform 44"/>
                <p:cNvSpPr/>
                <p:nvPr/>
              </p:nvSpPr>
              <p:spPr>
                <a:xfrm>
                  <a:off x="6559422" y="1495936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469739" y="1402508"/>
                      </a:moveTo>
                      <a:arcTo wR="841818" hR="841818" stAng="2505759" swAng="1652532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6" name="Freeform 45"/>
                <p:cNvSpPr/>
                <p:nvPr/>
              </p:nvSpPr>
              <p:spPr>
                <a:xfrm>
                  <a:off x="6604534" y="2604619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Tasks</a:t>
                  </a:r>
                  <a:r>
                    <a:rPr lang="en-US" sz="1400" kern="1200" dirty="0"/>
                    <a:t> </a:t>
                  </a: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cheduler</a:t>
                  </a:r>
                </a:p>
              </p:txBody>
            </p:sp>
            <p:sp>
              <p:nvSpPr>
                <p:cNvPr id="47" name="Freeform 46"/>
                <p:cNvSpPr/>
                <p:nvPr/>
              </p:nvSpPr>
              <p:spPr>
                <a:xfrm>
                  <a:off x="6896205" y="1417187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8077" y="1092134"/>
                      </a:moveTo>
                      <a:arcTo wR="841818" hR="841818" stAng="9762083" swAng="1282643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3" name="Rectangle 2"/>
              <p:cNvSpPr/>
              <p:nvPr/>
            </p:nvSpPr>
            <p:spPr>
              <a:xfrm>
                <a:off x="9902631" y="872800"/>
                <a:ext cx="1349481" cy="7773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ерверы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9467150" y="1557811"/>
                <a:ext cx="966434" cy="617296"/>
                <a:chOff x="1542478" y="1062551"/>
                <a:chExt cx="1062009" cy="690306"/>
              </a:xfrm>
            </p:grpSpPr>
            <p:sp>
              <p:nvSpPr>
                <p:cNvPr id="26" name="Rounded Rectangle 25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27" name="Rounded Rectangle 4"/>
                <p:cNvSpPr txBox="1"/>
                <p:nvPr/>
              </p:nvSpPr>
              <p:spPr>
                <a:xfrm>
                  <a:off x="1576176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lgos</a:t>
                  </a:r>
                  <a:endParaRPr lang="en-US" sz="1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</p:grpSp>
          <p:grpSp>
            <p:nvGrpSpPr>
              <p:cNvPr id="28" name="Group 27"/>
              <p:cNvGrpSpPr/>
              <p:nvPr/>
            </p:nvGrpSpPr>
            <p:grpSpPr>
              <a:xfrm>
                <a:off x="9467150" y="2396010"/>
                <a:ext cx="966434" cy="617296"/>
                <a:chOff x="1542478" y="1062551"/>
                <a:chExt cx="1062009" cy="690306"/>
              </a:xfrm>
            </p:grpSpPr>
            <p:sp>
              <p:nvSpPr>
                <p:cNvPr id="29" name="Rounded Rectangle 28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30" name="Rounded Rectangle 4"/>
                <p:cNvSpPr txBox="1"/>
                <p:nvPr/>
              </p:nvSpPr>
              <p:spPr>
                <a:xfrm>
                  <a:off x="1576175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>
                  <a:defPPr>
                    <a:defRPr lang="en-US"/>
                  </a:defPPr>
                  <a:lvl1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 sz="1200">
                      <a:solidFill>
                        <a:schemeClr val="accent1">
                          <a:lumMod val="50000"/>
                        </a:schemeClr>
                      </a:solidFill>
                    </a:defRPr>
                  </a:lvl1pPr>
                </a:lstStyle>
                <a:p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High-level business logic</a:t>
                  </a:r>
                </a:p>
              </p:txBody>
            </p:sp>
          </p:grpSp>
          <p:cxnSp>
            <p:nvCxnSpPr>
              <p:cNvPr id="23" name="Straight Arrow Connector 22"/>
              <p:cNvCxnSpPr/>
              <p:nvPr/>
            </p:nvCxnSpPr>
            <p:spPr>
              <a:xfrm flipV="1">
                <a:off x="8710405" y="1948839"/>
                <a:ext cx="699079" cy="3521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/>
              <p:nvPr/>
            </p:nvCxnSpPr>
            <p:spPr>
              <a:xfrm>
                <a:off x="8797490" y="2531983"/>
                <a:ext cx="611994" cy="213865"/>
              </a:xfrm>
              <a:prstGeom prst="straightConnector1">
                <a:avLst/>
              </a:prstGeom>
              <a:ln>
                <a:prstDash val="lg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/>
          </p:nvGrpSpPr>
          <p:grpSpPr>
            <a:xfrm>
              <a:off x="790733" y="948982"/>
              <a:ext cx="3757523" cy="3052800"/>
              <a:chOff x="790733" y="948982"/>
              <a:chExt cx="3757523" cy="305280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790733" y="984794"/>
                <a:ext cx="3444963" cy="2967855"/>
                <a:chOff x="790733" y="984794"/>
                <a:chExt cx="3444963" cy="2967855"/>
              </a:xfrm>
            </p:grpSpPr>
            <p:sp>
              <p:nvSpPr>
                <p:cNvPr id="14" name="Freeform 13"/>
                <p:cNvSpPr/>
                <p:nvPr/>
              </p:nvSpPr>
              <p:spPr>
                <a:xfrm>
                  <a:off x="1256730" y="2468722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0 h 1250928"/>
                    <a:gd name="connsiteX1" fmla="*/ 238074 w 476149"/>
                    <a:gd name="connsiteY1" fmla="*/ 0 h 1250928"/>
                    <a:gd name="connsiteX2" fmla="*/ 238074 w 476149"/>
                    <a:gd name="connsiteY2" fmla="*/ 1250928 h 1250928"/>
                    <a:gd name="connsiteX3" fmla="*/ 476149 w 476149"/>
                    <a:gd name="connsiteY3" fmla="*/ 1250928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1250928"/>
                      </a:lnTo>
                      <a:lnTo>
                        <a:pt x="476149" y="1250928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2" rIns="217312" bIns="592002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6" name="Freeform 15"/>
                <p:cNvSpPr/>
                <p:nvPr/>
              </p:nvSpPr>
              <p:spPr>
                <a:xfrm>
                  <a:off x="1256730" y="2468722"/>
                  <a:ext cx="476149" cy="668431"/>
                </a:xfrm>
                <a:custGeom>
                  <a:avLst/>
                  <a:gdLst>
                    <a:gd name="connsiteX0" fmla="*/ 0 w 476149"/>
                    <a:gd name="connsiteY0" fmla="*/ 0 h 668431"/>
                    <a:gd name="connsiteX1" fmla="*/ 238074 w 476149"/>
                    <a:gd name="connsiteY1" fmla="*/ 0 h 668431"/>
                    <a:gd name="connsiteX2" fmla="*/ 238074 w 476149"/>
                    <a:gd name="connsiteY2" fmla="*/ 668431 h 668431"/>
                    <a:gd name="connsiteX3" fmla="*/ 476149 w 476149"/>
                    <a:gd name="connsiteY3" fmla="*/ 668431 h 6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668431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668431"/>
                      </a:lnTo>
                      <a:lnTo>
                        <a:pt x="476149" y="668431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30258" tIns="313699" rIns="230257" bIns="31369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7" name="Freeform 16"/>
                <p:cNvSpPr/>
                <p:nvPr/>
              </p:nvSpPr>
              <p:spPr>
                <a:xfrm>
                  <a:off x="1256730" y="2423002"/>
                  <a:ext cx="305694" cy="91440"/>
                </a:xfrm>
                <a:custGeom>
                  <a:avLst/>
                  <a:gdLst>
                    <a:gd name="connsiteX0" fmla="*/ 0 w 305694"/>
                    <a:gd name="connsiteY0" fmla="*/ 45720 h 91440"/>
                    <a:gd name="connsiteX1" fmla="*/ 305694 w 305694"/>
                    <a:gd name="connsiteY1" fmla="*/ 45720 h 9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694" h="91440">
                      <a:moveTo>
                        <a:pt x="0" y="45720"/>
                      </a:moveTo>
                      <a:lnTo>
                        <a:pt x="305694" y="4572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57905" tIns="38078" rIns="157905" bIns="3807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8" name="Freeform 17"/>
                <p:cNvSpPr/>
                <p:nvPr/>
              </p:nvSpPr>
              <p:spPr>
                <a:xfrm>
                  <a:off x="1275199" y="1806418"/>
                  <a:ext cx="455148" cy="662303"/>
                </a:xfrm>
                <a:custGeom>
                  <a:avLst/>
                  <a:gdLst>
                    <a:gd name="connsiteX0" fmla="*/ 0 w 455148"/>
                    <a:gd name="connsiteY0" fmla="*/ 662303 h 662303"/>
                    <a:gd name="connsiteX1" fmla="*/ 227574 w 455148"/>
                    <a:gd name="connsiteY1" fmla="*/ 662303 h 662303"/>
                    <a:gd name="connsiteX2" fmla="*/ 227574 w 455148"/>
                    <a:gd name="connsiteY2" fmla="*/ 0 h 662303"/>
                    <a:gd name="connsiteX3" fmla="*/ 455148 w 455148"/>
                    <a:gd name="connsiteY3" fmla="*/ 0 h 6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148" h="662303">
                      <a:moveTo>
                        <a:pt x="0" y="662303"/>
                      </a:moveTo>
                      <a:lnTo>
                        <a:pt x="227574" y="662303"/>
                      </a:lnTo>
                      <a:lnTo>
                        <a:pt x="227574" y="0"/>
                      </a:lnTo>
                      <a:lnTo>
                        <a:pt x="455148" y="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0184" tIns="311062" rIns="220183" bIns="31106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1" name="Freeform 20"/>
                <p:cNvSpPr/>
                <p:nvPr/>
              </p:nvSpPr>
              <p:spPr>
                <a:xfrm>
                  <a:off x="1256730" y="1217793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1250928 h 1250928"/>
                    <a:gd name="connsiteX1" fmla="*/ 238074 w 476149"/>
                    <a:gd name="connsiteY1" fmla="*/ 1250928 h 1250928"/>
                    <a:gd name="connsiteX2" fmla="*/ 238074 w 476149"/>
                    <a:gd name="connsiteY2" fmla="*/ 0 h 1250928"/>
                    <a:gd name="connsiteX3" fmla="*/ 476149 w 476149"/>
                    <a:gd name="connsiteY3" fmla="*/ 0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1250928"/>
                      </a:moveTo>
                      <a:lnTo>
                        <a:pt x="238074" y="1250928"/>
                      </a:lnTo>
                      <a:lnTo>
                        <a:pt x="238074" y="0"/>
                      </a:lnTo>
                      <a:lnTo>
                        <a:pt x="476149" y="0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3" rIns="217312" bIns="592001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2" name="Freeform 21"/>
                <p:cNvSpPr/>
                <p:nvPr/>
              </p:nvSpPr>
              <p:spPr>
                <a:xfrm rot="16200000">
                  <a:off x="-202578" y="2235723"/>
                  <a:ext cx="2452619" cy="465997"/>
                </a:xfrm>
                <a:custGeom>
                  <a:avLst/>
                  <a:gdLst>
                    <a:gd name="connsiteX0" fmla="*/ 0 w 2452619"/>
                    <a:gd name="connsiteY0" fmla="*/ 0 h 465997"/>
                    <a:gd name="connsiteX1" fmla="*/ 2452619 w 2452619"/>
                    <a:gd name="connsiteY1" fmla="*/ 0 h 465997"/>
                    <a:gd name="connsiteX2" fmla="*/ 2452619 w 2452619"/>
                    <a:gd name="connsiteY2" fmla="*/ 465997 h 465997"/>
                    <a:gd name="connsiteX3" fmla="*/ 0 w 2452619"/>
                    <a:gd name="connsiteY3" fmla="*/ 465997 h 465997"/>
                    <a:gd name="connsiteX4" fmla="*/ 0 w 2452619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2619" h="465997">
                      <a:moveTo>
                        <a:pt x="0" y="0"/>
                      </a:moveTo>
                      <a:lnTo>
                        <a:pt x="2452619" y="0"/>
                      </a:lnTo>
                      <a:lnTo>
                        <a:pt x="2452619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19" tIns="20320" rIns="20321" bIns="2032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30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Клиенты</a:t>
                  </a:r>
                  <a:endParaRPr lang="en-US" sz="3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4" name="Freeform 33"/>
                <p:cNvSpPr/>
                <p:nvPr/>
              </p:nvSpPr>
              <p:spPr>
                <a:xfrm>
                  <a:off x="1732880" y="984794"/>
                  <a:ext cx="2380274" cy="465997"/>
                </a:xfrm>
                <a:custGeom>
                  <a:avLst/>
                  <a:gdLst>
                    <a:gd name="connsiteX0" fmla="*/ 0 w 2321520"/>
                    <a:gd name="connsiteY0" fmla="*/ 0 h 465997"/>
                    <a:gd name="connsiteX1" fmla="*/ 2321520 w 2321520"/>
                    <a:gd name="connsiteY1" fmla="*/ 0 h 465997"/>
                    <a:gd name="connsiteX2" fmla="*/ 2321520 w 2321520"/>
                    <a:gd name="connsiteY2" fmla="*/ 465997 h 465997"/>
                    <a:gd name="connsiteX3" fmla="*/ 0 w 2321520"/>
                    <a:gd name="connsiteY3" fmla="*/ 465997 h 465997"/>
                    <a:gd name="connsiteX4" fmla="*/ 0 w 2321520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1520" h="465997">
                      <a:moveTo>
                        <a:pt x="0" y="0"/>
                      </a:moveTo>
                      <a:lnTo>
                        <a:pt x="2321520" y="0"/>
                      </a:lnTo>
                      <a:lnTo>
                        <a:pt x="2321520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ески / рисковая аналитика</a:t>
                  </a:r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 (Python API, Excels)</a:t>
                  </a:r>
                </a:p>
              </p:txBody>
            </p:sp>
            <p:sp>
              <p:nvSpPr>
                <p:cNvPr id="35" name="Freeform 34"/>
                <p:cNvSpPr/>
                <p:nvPr/>
              </p:nvSpPr>
              <p:spPr>
                <a:xfrm>
                  <a:off x="1732880" y="1573419"/>
                  <a:ext cx="2380274" cy="465997"/>
                </a:xfrm>
                <a:custGeom>
                  <a:avLst/>
                  <a:gdLst>
                    <a:gd name="connsiteX0" fmla="*/ 0 w 2355574"/>
                    <a:gd name="connsiteY0" fmla="*/ 0 h 465997"/>
                    <a:gd name="connsiteX1" fmla="*/ 2355574 w 2355574"/>
                    <a:gd name="connsiteY1" fmla="*/ 0 h 465997"/>
                    <a:gd name="connsiteX2" fmla="*/ 2355574 w 2355574"/>
                    <a:gd name="connsiteY2" fmla="*/ 465997 h 465997"/>
                    <a:gd name="connsiteX3" fmla="*/ 0 w 2355574"/>
                    <a:gd name="connsiteY3" fmla="*/ 465997 h 465997"/>
                    <a:gd name="connsiteX4" fmla="*/ 0 w 23555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5574" h="465997">
                      <a:moveTo>
                        <a:pt x="0" y="0"/>
                      </a:moveTo>
                      <a:lnTo>
                        <a:pt x="2355574" y="0"/>
                      </a:lnTo>
                      <a:lnTo>
                        <a:pt x="23555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Murex via Flex API</a:t>
                  </a:r>
                </a:p>
              </p:txBody>
            </p:sp>
            <p:sp>
              <p:nvSpPr>
                <p:cNvPr id="36" name="Freeform 35"/>
                <p:cNvSpPr/>
                <p:nvPr/>
              </p:nvSpPr>
              <p:spPr>
                <a:xfrm>
                  <a:off x="1563820" y="2149789"/>
                  <a:ext cx="2671876" cy="637866"/>
                </a:xfrm>
                <a:custGeom>
                  <a:avLst/>
                  <a:gdLst>
                    <a:gd name="connsiteX0" fmla="*/ 0 w 2671876"/>
                    <a:gd name="connsiteY0" fmla="*/ 0 h 637866"/>
                    <a:gd name="connsiteX1" fmla="*/ 2671876 w 2671876"/>
                    <a:gd name="connsiteY1" fmla="*/ 0 h 637866"/>
                    <a:gd name="connsiteX2" fmla="*/ 2671876 w 2671876"/>
                    <a:gd name="connsiteY2" fmla="*/ 637866 h 637866"/>
                    <a:gd name="connsiteX3" fmla="*/ 0 w 2671876"/>
                    <a:gd name="connsiteY3" fmla="*/ 637866 h 637866"/>
                    <a:gd name="connsiteX4" fmla="*/ 0 w 2671876"/>
                    <a:gd name="connsiteY4" fmla="*/ 0 h 63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71876" h="637866">
                      <a:moveTo>
                        <a:pt x="0" y="0"/>
                      </a:moveTo>
                      <a:lnTo>
                        <a:pt x="2671876" y="0"/>
                      </a:lnTo>
                      <a:lnTo>
                        <a:pt x="2671876" y="637866"/>
                      </a:lnTo>
                      <a:lnTo>
                        <a:pt x="0" y="63786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7CCAB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2700" tIns="12700" rIns="12700" bIns="1270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2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xVA</a:t>
                  </a:r>
                  <a:endParaRPr lang="en-US" sz="2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>
                  <a:off x="1732880" y="2904155"/>
                  <a:ext cx="2380274" cy="465997"/>
                </a:xfrm>
                <a:custGeom>
                  <a:avLst/>
                  <a:gdLst>
                    <a:gd name="connsiteX0" fmla="*/ 0 w 2348222"/>
                    <a:gd name="connsiteY0" fmla="*/ 0 h 465997"/>
                    <a:gd name="connsiteX1" fmla="*/ 2348222 w 2348222"/>
                    <a:gd name="connsiteY1" fmla="*/ 0 h 465997"/>
                    <a:gd name="connsiteX2" fmla="*/ 2348222 w 2348222"/>
                    <a:gd name="connsiteY2" fmla="*/ 465997 h 465997"/>
                    <a:gd name="connsiteX3" fmla="*/ 0 w 2348222"/>
                    <a:gd name="connsiteY3" fmla="*/ 465997 h 465997"/>
                    <a:gd name="connsiteX4" fmla="*/ 0 w 2348222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8222" h="465997">
                      <a:moveTo>
                        <a:pt x="0" y="0"/>
                      </a:moveTo>
                      <a:lnTo>
                        <a:pt x="2348222" y="0"/>
                      </a:lnTo>
                      <a:lnTo>
                        <a:pt x="2348222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огма</a:t>
                  </a: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, K7M</a:t>
                  </a:r>
                </a:p>
              </p:txBody>
            </p:sp>
            <p:sp>
              <p:nvSpPr>
                <p:cNvPr id="39" name="Freeform 38"/>
                <p:cNvSpPr/>
                <p:nvPr/>
              </p:nvSpPr>
              <p:spPr>
                <a:xfrm>
                  <a:off x="1732880" y="3486652"/>
                  <a:ext cx="2380274" cy="465997"/>
                </a:xfrm>
                <a:custGeom>
                  <a:avLst/>
                  <a:gdLst>
                    <a:gd name="connsiteX0" fmla="*/ 0 w 2380274"/>
                    <a:gd name="connsiteY0" fmla="*/ 0 h 465997"/>
                    <a:gd name="connsiteX1" fmla="*/ 2380274 w 2380274"/>
                    <a:gd name="connsiteY1" fmla="*/ 0 h 465997"/>
                    <a:gd name="connsiteX2" fmla="*/ 2380274 w 2380274"/>
                    <a:gd name="connsiteY2" fmla="*/ 465997 h 465997"/>
                    <a:gd name="connsiteX3" fmla="*/ 0 w 2380274"/>
                    <a:gd name="connsiteY3" fmla="*/ 465997 h 465997"/>
                    <a:gd name="connsiteX4" fmla="*/ 0 w 23802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0274" h="465997">
                      <a:moveTo>
                        <a:pt x="0" y="0"/>
                      </a:moveTo>
                      <a:lnTo>
                        <a:pt x="2380274" y="0"/>
                      </a:lnTo>
                      <a:lnTo>
                        <a:pt x="23802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CRM (Web interface)</a:t>
                  </a:r>
                </a:p>
              </p:txBody>
            </p:sp>
          </p:grpSp>
          <p:sp>
            <p:nvSpPr>
              <p:cNvPr id="9" name="Right Brace 8"/>
              <p:cNvSpPr/>
              <p:nvPr/>
            </p:nvSpPr>
            <p:spPr>
              <a:xfrm>
                <a:off x="4267218" y="948982"/>
                <a:ext cx="281038" cy="3052800"/>
              </a:xfrm>
              <a:prstGeom prst="rightBrace">
                <a:avLst/>
              </a:prstGeom>
              <a:ln w="25400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77768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9694BE-F06D-0848-B889-BA11BEC19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964" y="243940"/>
            <a:ext cx="10515600" cy="681477"/>
          </a:xfrm>
        </p:spPr>
        <p:txBody>
          <a:bodyPr/>
          <a:lstStyle/>
          <a:p>
            <a:r>
              <a:rPr lang="ru-RU" sz="3200" dirty="0">
                <a:solidFill>
                  <a:srgbClr val="575757">
                    <a:lumMod val="50000"/>
                  </a:srgbClr>
                </a:solidFill>
              </a:rPr>
              <a:t>Постановка задач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44286C1-0B3F-A544-B9B3-35B3429E2CFF}"/>
              </a:ext>
            </a:extLst>
          </p:cNvPr>
          <p:cNvSpPr/>
          <p:nvPr/>
        </p:nvSpPr>
        <p:spPr>
          <a:xfrm>
            <a:off x="980501" y="1355075"/>
            <a:ext cx="2996588" cy="38889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1AB145-57F2-AE4C-8C58-530F543F49BF}"/>
              </a:ext>
            </a:extLst>
          </p:cNvPr>
          <p:cNvSpPr txBox="1"/>
          <p:nvPr/>
        </p:nvSpPr>
        <p:spPr>
          <a:xfrm>
            <a:off x="1101686" y="2145390"/>
            <a:ext cx="275421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VNEKB</a:t>
            </a:r>
          </a:p>
          <a:p>
            <a:pPr algn="ctr"/>
            <a:r>
              <a:rPr lang="en-US" dirty="0"/>
              <a:t>RAZYU</a:t>
            </a:r>
          </a:p>
          <a:p>
            <a:pPr algn="ctr"/>
            <a:r>
              <a:rPr lang="en-US" dirty="0"/>
              <a:t>RPZSO</a:t>
            </a:r>
          </a:p>
          <a:p>
            <a:pPr algn="ctr"/>
            <a:r>
              <a:rPr lang="en-US" dirty="0"/>
              <a:t>ALFSZ</a:t>
            </a:r>
          </a:p>
          <a:p>
            <a:pPr algn="ctr"/>
            <a:r>
              <a:rPr lang="en-US" dirty="0"/>
              <a:t>MURMA</a:t>
            </a:r>
          </a:p>
          <a:p>
            <a:pPr algn="ctr"/>
            <a:r>
              <a:rPr lang="en-US" dirty="0"/>
              <a:t>SVSTL</a:t>
            </a:r>
          </a:p>
          <a:p>
            <a:pPr algn="ctr"/>
            <a:r>
              <a:rPr lang="en-US" dirty="0"/>
              <a:t>MRCHU</a:t>
            </a:r>
          </a:p>
          <a:p>
            <a:pPr algn="ctr"/>
            <a:r>
              <a:rPr lang="en-US" dirty="0"/>
              <a:t>REKRE</a:t>
            </a:r>
            <a:endParaRPr lang="ru-RU" dirty="0"/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C8E9DAF7-0364-9241-8686-D18C6212B2EF}"/>
              </a:ext>
            </a:extLst>
          </p:cNvPr>
          <p:cNvCxnSpPr>
            <a:cxnSpLocks/>
          </p:cNvCxnSpPr>
          <p:nvPr/>
        </p:nvCxnSpPr>
        <p:spPr>
          <a:xfrm flipV="1">
            <a:off x="3977088" y="1454227"/>
            <a:ext cx="1674566" cy="122287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A27BE53-D56F-6745-A8E9-FF0CF14B8C89}"/>
              </a:ext>
            </a:extLst>
          </p:cNvPr>
          <p:cNvSpPr txBox="1"/>
          <p:nvPr/>
        </p:nvSpPr>
        <p:spPr>
          <a:xfrm>
            <a:off x="5941764" y="955580"/>
            <a:ext cx="1792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ent Valu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898AA3-A2E9-A946-AA08-A736CD68C826}"/>
              </a:ext>
            </a:extLst>
          </p:cNvPr>
          <p:cNvSpPr txBox="1"/>
          <p:nvPr/>
        </p:nvSpPr>
        <p:spPr>
          <a:xfrm>
            <a:off x="5971144" y="1454227"/>
            <a:ext cx="1101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eeks</a:t>
            </a:r>
            <a:endParaRPr lang="ru-RU" dirty="0"/>
          </a:p>
        </p:txBody>
      </p:sp>
      <p:sp>
        <p:nvSpPr>
          <p:cNvPr id="13" name="Открывающая фигурная скобка 12">
            <a:extLst>
              <a:ext uri="{FF2B5EF4-FFF2-40B4-BE49-F238E27FC236}">
                <a16:creationId xmlns:a16="http://schemas.microsoft.com/office/drawing/2014/main" id="{7E32C1BF-4859-7745-BBAE-E728587A0582}"/>
              </a:ext>
            </a:extLst>
          </p:cNvPr>
          <p:cNvSpPr/>
          <p:nvPr/>
        </p:nvSpPr>
        <p:spPr>
          <a:xfrm>
            <a:off x="5772840" y="955580"/>
            <a:ext cx="214644" cy="867979"/>
          </a:xfrm>
          <a:prstGeom prst="lef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D86F63E8-0CCF-6E4F-84F7-14392E5D9494}"/>
              </a:ext>
            </a:extLst>
          </p:cNvPr>
          <p:cNvCxnSpPr>
            <a:cxnSpLocks/>
          </p:cNvCxnSpPr>
          <p:nvPr/>
        </p:nvCxnSpPr>
        <p:spPr>
          <a:xfrm>
            <a:off x="6837802" y="1638893"/>
            <a:ext cx="89603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Открывающая фигурная скобка 21">
            <a:extLst>
              <a:ext uri="{FF2B5EF4-FFF2-40B4-BE49-F238E27FC236}">
                <a16:creationId xmlns:a16="http://schemas.microsoft.com/office/drawing/2014/main" id="{FD29DCC2-8A4D-C54B-8862-14312D7F2EA4}"/>
              </a:ext>
            </a:extLst>
          </p:cNvPr>
          <p:cNvSpPr/>
          <p:nvPr/>
        </p:nvSpPr>
        <p:spPr>
          <a:xfrm>
            <a:off x="7892944" y="903522"/>
            <a:ext cx="214644" cy="1470742"/>
          </a:xfrm>
          <a:prstGeom prst="lef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DB2AC9-1866-494D-82E9-77C844A0FDF7}"/>
              </a:ext>
            </a:extLst>
          </p:cNvPr>
          <p:cNvSpPr txBox="1"/>
          <p:nvPr/>
        </p:nvSpPr>
        <p:spPr>
          <a:xfrm>
            <a:off x="8350786" y="903522"/>
            <a:ext cx="11347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FXDelta</a:t>
            </a:r>
            <a:endParaRPr lang="en-US" dirty="0"/>
          </a:p>
          <a:p>
            <a:r>
              <a:rPr lang="en-US" dirty="0" err="1"/>
              <a:t>FXVega</a:t>
            </a:r>
            <a:endParaRPr lang="en-US" dirty="0"/>
          </a:p>
          <a:p>
            <a:r>
              <a:rPr lang="en-US" dirty="0" err="1"/>
              <a:t>IRVega</a:t>
            </a:r>
            <a:endParaRPr lang="en-US" dirty="0"/>
          </a:p>
          <a:p>
            <a:r>
              <a:rPr lang="en-US" dirty="0"/>
              <a:t>DV01</a:t>
            </a:r>
          </a:p>
          <a:p>
            <a:r>
              <a:rPr lang="en-US" dirty="0"/>
              <a:t>CS01</a:t>
            </a:r>
            <a:endParaRPr lang="ru-RU" dirty="0"/>
          </a:p>
        </p:txBody>
      </p: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199554D-A424-8D40-86AD-E63A24BCBDDD}"/>
              </a:ext>
            </a:extLst>
          </p:cNvPr>
          <p:cNvCxnSpPr>
            <a:cxnSpLocks/>
          </p:cNvCxnSpPr>
          <p:nvPr/>
        </p:nvCxnSpPr>
        <p:spPr>
          <a:xfrm>
            <a:off x="9259675" y="1645453"/>
            <a:ext cx="89603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F936FF0-65F0-7046-8EFE-EDAD471390F7}"/>
              </a:ext>
            </a:extLst>
          </p:cNvPr>
          <p:cNvSpPr txBox="1"/>
          <p:nvPr/>
        </p:nvSpPr>
        <p:spPr>
          <a:xfrm>
            <a:off x="10139185" y="530897"/>
            <a:ext cx="196926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ужна чувствительность к каждому входному параметру (к каждой точке поверхности волатильности</a:t>
            </a:r>
            <a:r>
              <a:rPr lang="en-US" dirty="0"/>
              <a:t>, </a:t>
            </a:r>
            <a:r>
              <a:rPr lang="ru-RU" dirty="0"/>
              <a:t>например)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44B747D1-5860-A141-9DA3-09F8D7A938BD}"/>
              </a:ext>
            </a:extLst>
          </p:cNvPr>
          <p:cNvCxnSpPr>
            <a:cxnSpLocks/>
          </p:cNvCxnSpPr>
          <p:nvPr/>
        </p:nvCxnSpPr>
        <p:spPr>
          <a:xfrm>
            <a:off x="3949726" y="3429000"/>
            <a:ext cx="1930436" cy="83177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26D2D386-F439-9C41-96B2-440EE7ED6CF7}"/>
              </a:ext>
            </a:extLst>
          </p:cNvPr>
          <p:cNvSpPr/>
          <p:nvPr/>
        </p:nvSpPr>
        <p:spPr>
          <a:xfrm>
            <a:off x="9087074" y="387298"/>
            <a:ext cx="1052111" cy="560291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0A5002-B53A-3949-BCE0-5487DED498F4}"/>
              </a:ext>
            </a:extLst>
          </p:cNvPr>
          <p:cNvSpPr txBox="1"/>
          <p:nvPr/>
        </p:nvSpPr>
        <p:spPr>
          <a:xfrm>
            <a:off x="9277114" y="462511"/>
            <a:ext cx="672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AD!</a:t>
            </a:r>
            <a:endParaRPr lang="ru-RU" dirty="0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89F65DA5-4584-4945-9D27-0781F10935F5}"/>
              </a:ext>
            </a:extLst>
          </p:cNvPr>
          <p:cNvSpPr/>
          <p:nvPr/>
        </p:nvSpPr>
        <p:spPr>
          <a:xfrm>
            <a:off x="9045761" y="1984622"/>
            <a:ext cx="1134737" cy="539827"/>
          </a:xfrm>
          <a:prstGeom prst="ellipse">
            <a:avLst/>
          </a:prstGeom>
          <a:solidFill>
            <a:srgbClr val="C4A1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ump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26054467-7D89-5047-A40B-3AFDA250AD76}"/>
              </a:ext>
            </a:extLst>
          </p:cNvPr>
          <p:cNvCxnSpPr/>
          <p:nvPr/>
        </p:nvCxnSpPr>
        <p:spPr>
          <a:xfrm>
            <a:off x="9259675" y="1823559"/>
            <a:ext cx="689468" cy="85354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928D489-8EDA-5248-AC49-AA75FC9759D3}"/>
              </a:ext>
            </a:extLst>
          </p:cNvPr>
          <p:cNvCxnSpPr/>
          <p:nvPr/>
        </p:nvCxnSpPr>
        <p:spPr>
          <a:xfrm flipH="1">
            <a:off x="9277114" y="1823558"/>
            <a:ext cx="672029" cy="85354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E2E44F21-6FCF-4645-9A63-DB4AB659C68D}"/>
              </a:ext>
            </a:extLst>
          </p:cNvPr>
          <p:cNvSpPr txBox="1"/>
          <p:nvPr/>
        </p:nvSpPr>
        <p:spPr>
          <a:xfrm>
            <a:off x="5969123" y="4084382"/>
            <a:ext cx="9988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CVA</a:t>
            </a:r>
          </a:p>
          <a:p>
            <a:r>
              <a:rPr lang="en-US" dirty="0"/>
              <a:t>(</a:t>
            </a:r>
            <a:r>
              <a:rPr lang="ru-RU" dirty="0"/>
              <a:t>резерв)</a:t>
            </a:r>
          </a:p>
        </p:txBody>
      </p: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85A0A13B-858B-9B4A-843D-5491C0D01A6E}"/>
              </a:ext>
            </a:extLst>
          </p:cNvPr>
          <p:cNvCxnSpPr>
            <a:cxnSpLocks/>
          </p:cNvCxnSpPr>
          <p:nvPr/>
        </p:nvCxnSpPr>
        <p:spPr>
          <a:xfrm flipV="1">
            <a:off x="6753340" y="4253564"/>
            <a:ext cx="872168" cy="1548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0" name="Открывающая фигурная скобка 39">
            <a:extLst>
              <a:ext uri="{FF2B5EF4-FFF2-40B4-BE49-F238E27FC236}">
                <a16:creationId xmlns:a16="http://schemas.microsoft.com/office/drawing/2014/main" id="{74E24008-4038-C44E-89B0-C63098F02C65}"/>
              </a:ext>
            </a:extLst>
          </p:cNvPr>
          <p:cNvSpPr/>
          <p:nvPr/>
        </p:nvSpPr>
        <p:spPr>
          <a:xfrm>
            <a:off x="7733841" y="3819574"/>
            <a:ext cx="214644" cy="867979"/>
          </a:xfrm>
          <a:prstGeom prst="lef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9FCC696-BC8F-7D45-9720-86768B9EBA37}"/>
              </a:ext>
            </a:extLst>
          </p:cNvPr>
          <p:cNvSpPr txBox="1"/>
          <p:nvPr/>
        </p:nvSpPr>
        <p:spPr>
          <a:xfrm>
            <a:off x="8022115" y="3736304"/>
            <a:ext cx="336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VA (Credit Value Adjustment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7A3DA89-D3C7-D442-A780-AF44F30FE2D3}"/>
              </a:ext>
            </a:extLst>
          </p:cNvPr>
          <p:cNvSpPr txBox="1"/>
          <p:nvPr/>
        </p:nvSpPr>
        <p:spPr>
          <a:xfrm>
            <a:off x="7992737" y="4269048"/>
            <a:ext cx="33849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VA (Debit Value Adjustment)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FFA557FE-6353-9446-9CA7-CCB9860604C8}"/>
              </a:ext>
            </a:extLst>
          </p:cNvPr>
          <p:cNvSpPr/>
          <p:nvPr/>
        </p:nvSpPr>
        <p:spPr>
          <a:xfrm>
            <a:off x="8207564" y="4687037"/>
            <a:ext cx="1052111" cy="560291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828C875-A885-E841-A728-EE538D276BDF}"/>
              </a:ext>
            </a:extLst>
          </p:cNvPr>
          <p:cNvSpPr txBox="1"/>
          <p:nvPr/>
        </p:nvSpPr>
        <p:spPr>
          <a:xfrm>
            <a:off x="8388516" y="4787249"/>
            <a:ext cx="871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MC!</a:t>
            </a:r>
            <a:endParaRPr lang="ru-RU" dirty="0"/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F5EAB121-BC10-7443-B2C8-CA7A66487BCC}"/>
              </a:ext>
            </a:extLst>
          </p:cNvPr>
          <p:cNvSpPr/>
          <p:nvPr/>
        </p:nvSpPr>
        <p:spPr>
          <a:xfrm>
            <a:off x="6234910" y="330631"/>
            <a:ext cx="1052111" cy="560291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7BBE975-1425-FA4C-A554-748EC879F3F0}"/>
              </a:ext>
            </a:extLst>
          </p:cNvPr>
          <p:cNvSpPr txBox="1"/>
          <p:nvPr/>
        </p:nvSpPr>
        <p:spPr>
          <a:xfrm>
            <a:off x="6507292" y="456933"/>
            <a:ext cx="7319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C!</a:t>
            </a:r>
            <a:endParaRPr lang="ru-RU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010EA18-863D-3440-B448-3984ADF31BF7}"/>
              </a:ext>
            </a:extLst>
          </p:cNvPr>
          <p:cNvSpPr txBox="1"/>
          <p:nvPr/>
        </p:nvSpPr>
        <p:spPr>
          <a:xfrm>
            <a:off x="5012675" y="5324180"/>
            <a:ext cx="52550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опросы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Что такое </a:t>
            </a:r>
            <a:r>
              <a:rPr lang="en-US" dirty="0"/>
              <a:t>CV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Что такое </a:t>
            </a:r>
            <a:r>
              <a:rPr lang="en-US" dirty="0"/>
              <a:t>American Monte Carl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И как </a:t>
            </a:r>
            <a:r>
              <a:rPr lang="en-US" dirty="0"/>
              <a:t>AMC </a:t>
            </a:r>
            <a:r>
              <a:rPr lang="ru-RU" dirty="0"/>
              <a:t>помогает в задаче вычисления </a:t>
            </a:r>
            <a:r>
              <a:rPr lang="en-US" dirty="0"/>
              <a:t>CVA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92360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F26279-9E81-2346-BAB6-8AF3A7F6D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08" y="100722"/>
            <a:ext cx="10515600" cy="549274"/>
          </a:xfrm>
        </p:spPr>
        <p:txBody>
          <a:bodyPr>
            <a:normAutofit/>
          </a:bodyPr>
          <a:lstStyle/>
          <a:p>
            <a:r>
              <a:rPr lang="ru-RU" sz="3200" dirty="0"/>
              <a:t>Напоминание про </a:t>
            </a:r>
            <a:r>
              <a:rPr lang="en-US" sz="3200" dirty="0"/>
              <a:t>CVA</a:t>
            </a:r>
            <a:endParaRPr lang="ru-RU" sz="32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FA3F96D4-E03F-C24A-9C1F-A9984B0DC707}"/>
                  </a:ext>
                </a:extLst>
              </p:cNvPr>
              <p:cNvSpPr txBox="1"/>
              <p:nvPr/>
            </p:nvSpPr>
            <p:spPr>
              <a:xfrm>
                <a:off x="386508" y="796290"/>
                <a:ext cx="11103361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kumimoji="0" lang="en-US" sz="1800" b="1" i="0" u="sng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Credit Value Adjustment</a:t>
                </a:r>
                <a:r>
                  <a:rPr kumimoji="0" lang="ru-RU" sz="1800" b="1" i="0" u="sng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 (</a:t>
                </a:r>
                <a:r>
                  <a:rPr kumimoji="0" lang="en-US" sz="1800" b="1" i="0" u="sng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CVA)</a:t>
                </a:r>
                <a:r>
                  <a:rPr kumimoji="0" lang="en-US" sz="1800" b="1" i="0" u="sng" strike="noStrike" kern="1200" cap="none" spc="0" normalizeH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 </a:t>
                </a:r>
                <a:r>
                  <a:rPr kumimoji="0" lang="ru-RU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-</a:t>
                </a:r>
                <a:r>
                  <a:rPr kumimoji="0" lang="ru-RU" sz="1800" i="0" u="none" strike="noStrike" kern="1200" cap="none" spc="0" normalizeH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 это </a:t>
                </a:r>
                <a:r>
                  <a:rPr kumimoji="0" lang="ru-RU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поправка к стоимости</a:t>
                </a:r>
                <a:r>
                  <a:rPr kumimoji="0" lang="ru-RU" sz="1800" i="0" u="none" strike="noStrike" kern="1200" cap="none" spc="0" normalizeH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 сделки </a:t>
                </a:r>
                <a:r>
                  <a:rPr kumimoji="0" lang="ru-RU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Times New Roman" panose="02020603050405020304" pitchFamily="18" charset="0"/>
                    <a:ea typeface="+mj-ea"/>
                    <a:cs typeface="Times New Roman" panose="02020603050405020304" pitchFamily="18" charset="0"/>
                  </a:rPr>
                  <a:t>на размер кредитного риска контрагента</a:t>
                </a:r>
                <a:endPara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" sz="1800" dirty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VA </a:t>
                </a:r>
                <a:r>
                  <a:rPr lang="ru-RU" sz="1800" dirty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считается по всем </a:t>
                </a:r>
                <a:r>
                  <a:rPr lang="ru-RU" sz="1800" dirty="0" err="1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еривативам</a:t>
                </a:r>
                <a:r>
                  <a:rPr lang="ru-RU" sz="1800" dirty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на внебиржевом рынке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ри дефолте контрагента банк получает не рыночную стоимость сделки </a:t>
                </a: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𝑀𝑡𝑀</m:t>
                    </m:r>
                    <m:r>
                      <a:rPr lang="en-US" sz="18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en-US" sz="18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а только</a:t>
                </a:r>
                <a:r>
                  <a:rPr lang="en-US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RR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∗</m:t>
                    </m:r>
                    <m:r>
                      <a:rPr lang="en-US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𝑀𝑡𝑀</m:t>
                    </m:r>
                    <m:r>
                      <a:rPr lang="en-US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𝑡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endParaRPr kumimoji="0" lang="ru-RU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FA3F96D4-E03F-C24A-9C1F-A9984B0DC7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508" y="796290"/>
                <a:ext cx="11103361" cy="923330"/>
              </a:xfrm>
              <a:prstGeom prst="rect">
                <a:avLst/>
              </a:prstGeom>
              <a:blipFill>
                <a:blip r:embed="rId2"/>
                <a:stretch>
                  <a:fillRect l="-343" t="-2703" b="-945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4C3DCB-2C7D-4842-9EB1-08A4BCDC27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69977"/>
            <a:ext cx="12192000" cy="4992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2410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BF47A2-5395-D440-A03A-E393DC27C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771" y="136525"/>
            <a:ext cx="10515600" cy="812165"/>
          </a:xfrm>
        </p:spPr>
        <p:txBody>
          <a:bodyPr/>
          <a:lstStyle/>
          <a:p>
            <a:r>
              <a:rPr lang="ru-RU" sz="4400" dirty="0"/>
              <a:t>Как считать </a:t>
            </a:r>
            <a:r>
              <a:rPr lang="en-US" sz="4400" dirty="0"/>
              <a:t>CVA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3D271DA-8A76-1744-860C-474D0F70240F}"/>
                  </a:ext>
                </a:extLst>
              </p:cNvPr>
              <p:cNvSpPr txBox="1"/>
              <p:nvPr/>
            </p:nvSpPr>
            <p:spPr>
              <a:xfrm>
                <a:off x="697880" y="1910799"/>
                <a:ext cx="8100423" cy="37055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2400">
                              <a:latin typeface="Cambria Math" panose="02040503050406030204" pitchFamily="18" charset="0"/>
                            </a:rPr>
                            <m:t>C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𝑉𝐴</m:t>
                          </m:r>
                        </m:e>
                        <m:sub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sz="2400" b="0" i="0" smtClean="0">
                              <a:latin typeface="Cambria Math" panose="02040503050406030204" pitchFamily="18" charset="0"/>
                            </a:rPr>
                            <m:t>E</m:t>
                          </m:r>
                        </m:e>
                        <m:sup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p>
                      <m:d>
                        <m:dPr>
                          <m:begChr m:val="["/>
                          <m:endChr m:val="]"/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(0,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𝜏</m:t>
                          </m:r>
                          <m:r>
                            <a:rPr lang="en-US" sz="24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r>
                            <m:rPr>
                              <m:sty m:val="p"/>
                            </m:rPr>
                            <a:rPr lang="en-US" sz="2400" b="0" i="0" smtClean="0">
                              <a:latin typeface="Cambria Math" panose="02040503050406030204" pitchFamily="18" charset="0"/>
                            </a:rPr>
                            <m:t>LGD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sSub>
                            <m:sSub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&lt;</m:t>
                              </m:r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sub>
                          </m:sSub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func>
                            <m:func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24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max</m:t>
                              </m:r>
                            </m:fName>
                            <m:e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m:rPr>
                                  <m:sty m:val="p"/>
                                </m:rPr>
                                <a:rPr lang="en-US" sz="24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isk</m:t>
                              </m:r>
                              <m:r>
                                <m:rPr>
                                  <m:nor/>
                                </m:rPr>
                                <a:rPr lang="en-US" sz="24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ree</m:t>
                              </m:r>
                              <m:r>
                                <m:rPr>
                                  <m:sty m:val="p"/>
                                </m:rPr>
                                <a:rPr lang="en-US" sz="24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Price</m:t>
                              </m:r>
                              <m:d>
                                <m:dPr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𝜏</m:t>
                                  </m:r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𝑇</m:t>
                                  </m:r>
                                </m:e>
                              </m:d>
                              <m:r>
                                <a:rPr lang="en-US" sz="24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0)</m:t>
                              </m:r>
                            </m:e>
                          </m:func>
                        </m:e>
                      </m:d>
                    </m:oMath>
                  </m:oMathPara>
                </a14:m>
                <a:endParaRPr lang="ru-RU" sz="2400" dirty="0"/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3D271DA-8A76-1744-860C-474D0F7024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7880" y="1910799"/>
                <a:ext cx="8100423" cy="370551"/>
              </a:xfrm>
              <a:prstGeom prst="rect">
                <a:avLst/>
              </a:prstGeom>
              <a:blipFill>
                <a:blip r:embed="rId2"/>
                <a:stretch>
                  <a:fillRect l="-1252" t="-3333" b="-3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A491A21-6854-A846-BEBB-D180E9CDB5AA}"/>
                  </a:ext>
                </a:extLst>
              </p:cNvPr>
              <p:cNvSpPr txBox="1"/>
              <p:nvPr/>
            </p:nvSpPr>
            <p:spPr>
              <a:xfrm>
                <a:off x="9349843" y="1662910"/>
                <a:ext cx="2658319" cy="495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2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𝜏</m:t>
                    </m:r>
                    <m:r>
                      <a:rPr lang="en-US" sz="2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400" dirty="0"/>
                  <a:t>– default time</a:t>
                </a:r>
                <a:endParaRPr lang="ru-RU" sz="2400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A491A21-6854-A846-BEBB-D180E9CDB5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49843" y="1662910"/>
                <a:ext cx="2658319" cy="495777"/>
              </a:xfrm>
              <a:prstGeom prst="rect">
                <a:avLst/>
              </a:prstGeom>
              <a:blipFill>
                <a:blip r:embed="rId3"/>
                <a:stretch>
                  <a:fillRect l="-2857" b="-3589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Right Brace 6">
            <a:extLst>
              <a:ext uri="{FF2B5EF4-FFF2-40B4-BE49-F238E27FC236}">
                <a16:creationId xmlns:a16="http://schemas.microsoft.com/office/drawing/2014/main" id="{3A3DF042-59E4-F343-97FC-C04DB1E49BE6}"/>
              </a:ext>
            </a:extLst>
          </p:cNvPr>
          <p:cNvSpPr/>
          <p:nvPr/>
        </p:nvSpPr>
        <p:spPr>
          <a:xfrm rot="16200000">
            <a:off x="3559598" y="1549645"/>
            <a:ext cx="165940" cy="570049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5" name="Right Brace 6">
            <a:extLst>
              <a:ext uri="{FF2B5EF4-FFF2-40B4-BE49-F238E27FC236}">
                <a16:creationId xmlns:a16="http://schemas.microsoft.com/office/drawing/2014/main" id="{57D16FD7-65B1-C646-BAAF-177E0D89F0CE}"/>
              </a:ext>
            </a:extLst>
          </p:cNvPr>
          <p:cNvSpPr/>
          <p:nvPr/>
        </p:nvSpPr>
        <p:spPr>
          <a:xfrm rot="5400000">
            <a:off x="6708429" y="606566"/>
            <a:ext cx="173912" cy="3689420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F60370AA-8C54-B14A-9327-89B5215DF0A5}"/>
              </a:ext>
            </a:extLst>
          </p:cNvPr>
          <p:cNvSpPr txBox="1"/>
          <p:nvPr/>
        </p:nvSpPr>
        <p:spPr>
          <a:xfrm>
            <a:off x="3921399" y="2420189"/>
            <a:ext cx="10589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Probability of default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DC7AF5FF-108F-1C42-9885-E2E8DCB356FF}"/>
              </a:ext>
            </a:extLst>
          </p:cNvPr>
          <p:cNvSpPr txBox="1"/>
          <p:nvPr/>
        </p:nvSpPr>
        <p:spPr>
          <a:xfrm>
            <a:off x="5386389" y="2538232"/>
            <a:ext cx="2741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</a:rPr>
              <a:t>Discounted Positive Exposure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20" name="TextBox 5">
            <a:extLst>
              <a:ext uri="{FF2B5EF4-FFF2-40B4-BE49-F238E27FC236}">
                <a16:creationId xmlns:a16="http://schemas.microsoft.com/office/drawing/2014/main" id="{1C84B934-58A9-0C49-98D1-ADF6BB737828}"/>
              </a:ext>
            </a:extLst>
          </p:cNvPr>
          <p:cNvSpPr txBox="1"/>
          <p:nvPr/>
        </p:nvSpPr>
        <p:spPr>
          <a:xfrm>
            <a:off x="1723588" y="2486014"/>
            <a:ext cx="1791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>
                <a:solidFill>
                  <a:srgbClr val="0070C0"/>
                </a:solidFill>
              </a:rPr>
              <a:t>DiscountFactor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21" name="Right Brace 6">
            <a:extLst>
              <a:ext uri="{FF2B5EF4-FFF2-40B4-BE49-F238E27FC236}">
                <a16:creationId xmlns:a16="http://schemas.microsoft.com/office/drawing/2014/main" id="{25990BB0-827F-1E4C-A880-2A54BE0096F3}"/>
              </a:ext>
            </a:extLst>
          </p:cNvPr>
          <p:cNvSpPr/>
          <p:nvPr/>
        </p:nvSpPr>
        <p:spPr>
          <a:xfrm rot="5400000">
            <a:off x="4380096" y="2135165"/>
            <a:ext cx="165940" cy="570049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2" name="Right Brace 6">
            <a:extLst>
              <a:ext uri="{FF2B5EF4-FFF2-40B4-BE49-F238E27FC236}">
                <a16:creationId xmlns:a16="http://schemas.microsoft.com/office/drawing/2014/main" id="{1181D154-8969-0749-8341-ABE2EBE29BF0}"/>
              </a:ext>
            </a:extLst>
          </p:cNvPr>
          <p:cNvSpPr/>
          <p:nvPr/>
        </p:nvSpPr>
        <p:spPr>
          <a:xfrm rot="5400000" flipV="1">
            <a:off x="2623565" y="1961502"/>
            <a:ext cx="156457" cy="926857"/>
          </a:xfrm>
          <a:prstGeom prst="rightBrac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533BE4-9DCF-364F-B9CF-6C74A22360F7}"/>
              </a:ext>
            </a:extLst>
          </p:cNvPr>
          <p:cNvSpPr txBox="1"/>
          <p:nvPr/>
        </p:nvSpPr>
        <p:spPr>
          <a:xfrm>
            <a:off x="2904510" y="1371797"/>
            <a:ext cx="2046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ss-given default</a:t>
            </a:r>
            <a:endParaRPr lang="ru-RU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Рамка 23">
            <a:extLst>
              <a:ext uri="{FF2B5EF4-FFF2-40B4-BE49-F238E27FC236}">
                <a16:creationId xmlns:a16="http://schemas.microsoft.com/office/drawing/2014/main" id="{5510EE2B-F699-8B41-850D-5A091B59EA1A}"/>
              </a:ext>
            </a:extLst>
          </p:cNvPr>
          <p:cNvSpPr/>
          <p:nvPr/>
        </p:nvSpPr>
        <p:spPr>
          <a:xfrm>
            <a:off x="183838" y="1052301"/>
            <a:ext cx="9055865" cy="2280492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CA7E20D-DC1C-4C4E-9A67-53D90AE3CE95}"/>
              </a:ext>
            </a:extLst>
          </p:cNvPr>
          <p:cNvCxnSpPr/>
          <p:nvPr/>
        </p:nvCxnSpPr>
        <p:spPr>
          <a:xfrm>
            <a:off x="3515383" y="2281350"/>
            <a:ext cx="0" cy="512441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8E307053-14FA-3B41-9F9E-E502E8341D08}"/>
              </a:ext>
            </a:extLst>
          </p:cNvPr>
          <p:cNvCxnSpPr/>
          <p:nvPr/>
        </p:nvCxnSpPr>
        <p:spPr>
          <a:xfrm>
            <a:off x="3642568" y="2294221"/>
            <a:ext cx="0" cy="512441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70DDEE9-F841-9A44-9078-E89CC5D34FC1}"/>
              </a:ext>
            </a:extLst>
          </p:cNvPr>
          <p:cNvSpPr txBox="1"/>
          <p:nvPr/>
        </p:nvSpPr>
        <p:spPr>
          <a:xfrm>
            <a:off x="3098496" y="2747964"/>
            <a:ext cx="1137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(1-RR)</a:t>
            </a:r>
            <a:endParaRPr lang="ru-RU" dirty="0"/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0A3A6279-F370-454E-8FBA-20DAB7CC2CE9}"/>
              </a:ext>
            </a:extLst>
          </p:cNvPr>
          <p:cNvCxnSpPr>
            <a:cxnSpLocks/>
          </p:cNvCxnSpPr>
          <p:nvPr/>
        </p:nvCxnSpPr>
        <p:spPr>
          <a:xfrm flipV="1">
            <a:off x="1277957" y="5117241"/>
            <a:ext cx="7427402" cy="4967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B11E4194-E836-404C-BE3A-A4E2ED095954}"/>
              </a:ext>
            </a:extLst>
          </p:cNvPr>
          <p:cNvCxnSpPr>
            <a:cxnSpLocks/>
          </p:cNvCxnSpPr>
          <p:nvPr/>
        </p:nvCxnSpPr>
        <p:spPr>
          <a:xfrm flipV="1">
            <a:off x="1277957" y="4138576"/>
            <a:ext cx="2085026" cy="97866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A9F883E6-25EB-FE49-B56B-7A1C59313A05}"/>
              </a:ext>
            </a:extLst>
          </p:cNvPr>
          <p:cNvCxnSpPr>
            <a:cxnSpLocks/>
          </p:cNvCxnSpPr>
          <p:nvPr/>
        </p:nvCxnSpPr>
        <p:spPr>
          <a:xfrm>
            <a:off x="1277957" y="5216582"/>
            <a:ext cx="2236830" cy="88318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15B1D3E-97BF-1D47-BF61-425D60507C8D}"/>
                  </a:ext>
                </a:extLst>
              </p:cNvPr>
              <p:cNvSpPr txBox="1"/>
              <p:nvPr/>
            </p:nvSpPr>
            <p:spPr>
              <a:xfrm>
                <a:off x="3164616" y="3967945"/>
                <a:ext cx="18560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&gt;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15B1D3E-97BF-1D47-BF61-425D60507C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64616" y="3967945"/>
                <a:ext cx="1856044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D95FBEF-6184-C64C-8E20-B59465E8AC97}"/>
                  </a:ext>
                </a:extLst>
              </p:cNvPr>
              <p:cNvSpPr txBox="1"/>
              <p:nvPr/>
            </p:nvSpPr>
            <p:spPr>
              <a:xfrm>
                <a:off x="3307856" y="5911969"/>
                <a:ext cx="18560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&lt;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D95FBEF-6184-C64C-8E20-B59465E8AC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7856" y="5911969"/>
                <a:ext cx="1856044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5CF30D23-18A8-324D-BAF6-2EDDABAA9147}"/>
                  </a:ext>
                </a:extLst>
              </p:cNvPr>
              <p:cNvSpPr txBox="1"/>
              <p:nvPr/>
            </p:nvSpPr>
            <p:spPr>
              <a:xfrm>
                <a:off x="543771" y="5012675"/>
                <a:ext cx="8333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5CF30D23-18A8-324D-BAF6-2EDDABAA91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771" y="5012675"/>
                <a:ext cx="833337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0A1F6A9B-A173-4147-A0F0-B741DD34D48B}"/>
              </a:ext>
            </a:extLst>
          </p:cNvPr>
          <p:cNvCxnSpPr>
            <a:cxnSpLocks/>
          </p:cNvCxnSpPr>
          <p:nvPr/>
        </p:nvCxnSpPr>
        <p:spPr>
          <a:xfrm>
            <a:off x="3514787" y="5117241"/>
            <a:ext cx="0" cy="9934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8027427-E5BA-484F-BC20-113B23B5D617}"/>
                  </a:ext>
                </a:extLst>
              </p:cNvPr>
              <p:cNvSpPr txBox="1"/>
              <p:nvPr/>
            </p:nvSpPr>
            <p:spPr>
              <a:xfrm>
                <a:off x="3097893" y="4741868"/>
                <a:ext cx="83333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8027427-E5BA-484F-BC20-113B23B5D6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97893" y="4741868"/>
                <a:ext cx="833337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63A7B219-B2CB-8C44-86D6-B57E1C025C97}"/>
              </a:ext>
            </a:extLst>
          </p:cNvPr>
          <p:cNvCxnSpPr>
            <a:cxnSpLocks/>
          </p:cNvCxnSpPr>
          <p:nvPr/>
        </p:nvCxnSpPr>
        <p:spPr>
          <a:xfrm flipV="1">
            <a:off x="4861705" y="3638796"/>
            <a:ext cx="1301032" cy="45333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8AEF5453-0A0B-7042-8E60-5B10B70C28BA}"/>
              </a:ext>
            </a:extLst>
          </p:cNvPr>
          <p:cNvCxnSpPr>
            <a:cxnSpLocks/>
          </p:cNvCxnSpPr>
          <p:nvPr/>
        </p:nvCxnSpPr>
        <p:spPr>
          <a:xfrm>
            <a:off x="4832973" y="4152611"/>
            <a:ext cx="1468675" cy="6714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A4987567-0408-EA4B-9280-66722C325C7F}"/>
              </a:ext>
            </a:extLst>
          </p:cNvPr>
          <p:cNvSpPr txBox="1"/>
          <p:nvPr/>
        </p:nvSpPr>
        <p:spPr>
          <a:xfrm rot="1535915">
            <a:off x="5131371" y="4397424"/>
            <a:ext cx="1856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Контрагент </a:t>
            </a:r>
            <a:r>
              <a:rPr lang="ru-RU" dirty="0" err="1">
                <a:solidFill>
                  <a:srgbClr val="FF0000"/>
                </a:solidFill>
              </a:rPr>
              <a:t>дефолтит</a:t>
            </a:r>
            <a:r>
              <a:rPr lang="ru-RU" dirty="0">
                <a:solidFill>
                  <a:srgbClr val="FF0000"/>
                </a:solidFill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37B407B-293D-A741-80BA-9E3B8FE21FC1}"/>
                  </a:ext>
                </a:extLst>
              </p:cNvPr>
              <p:cNvSpPr txBox="1"/>
              <p:nvPr/>
            </p:nvSpPr>
            <p:spPr>
              <a:xfrm>
                <a:off x="6034054" y="3462798"/>
                <a:ext cx="18560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&gt;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37B407B-293D-A741-80BA-9E3B8FE21F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34054" y="3462798"/>
                <a:ext cx="1856044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>
            <a:extLst>
              <a:ext uri="{FF2B5EF4-FFF2-40B4-BE49-F238E27FC236}">
                <a16:creationId xmlns:a16="http://schemas.microsoft.com/office/drawing/2014/main" id="{5E108ED6-6D8F-DF49-A55F-18B0CA03BC12}"/>
              </a:ext>
            </a:extLst>
          </p:cNvPr>
          <p:cNvSpPr txBox="1"/>
          <p:nvPr/>
        </p:nvSpPr>
        <p:spPr>
          <a:xfrm rot="20584729">
            <a:off x="4584053" y="3243550"/>
            <a:ext cx="1856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нтрагент </a:t>
            </a:r>
            <a:endParaRPr lang="en-US" dirty="0"/>
          </a:p>
          <a:p>
            <a:r>
              <a:rPr lang="ru-RU" dirty="0"/>
              <a:t>не </a:t>
            </a:r>
            <a:r>
              <a:rPr lang="ru-RU" dirty="0" err="1"/>
              <a:t>дефолтит</a:t>
            </a:r>
            <a:r>
              <a:rPr lang="ru-RU" dirty="0"/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0CD732B-4333-6941-B31C-93498226815E}"/>
                  </a:ext>
                </a:extLst>
              </p:cNvPr>
              <p:cNvSpPr txBox="1"/>
              <p:nvPr/>
            </p:nvSpPr>
            <p:spPr>
              <a:xfrm>
                <a:off x="6337961" y="4520260"/>
                <a:ext cx="23673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−(1−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𝑅𝑅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)∗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0CD732B-4333-6941-B31C-9349822681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37961" y="4520260"/>
                <a:ext cx="2367398" cy="369332"/>
              </a:xfrm>
              <a:prstGeom prst="rect">
                <a:avLst/>
              </a:prstGeom>
              <a:blipFill>
                <a:blip r:embed="rId9"/>
                <a:stretch>
                  <a:fillRect b="-172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7B4F98F-05D6-D54A-9F68-C0B6A536FD27}"/>
                  </a:ext>
                </a:extLst>
              </p:cNvPr>
              <p:cNvSpPr txBox="1"/>
              <p:nvPr/>
            </p:nvSpPr>
            <p:spPr>
              <a:xfrm>
                <a:off x="6162737" y="5216582"/>
                <a:ext cx="185604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&lt;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17B4F98F-05D6-D54A-9F68-C0B6A536FD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62737" y="5216582"/>
                <a:ext cx="1856044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5" name="Прямая со стрелкой 54">
            <a:extLst>
              <a:ext uri="{FF2B5EF4-FFF2-40B4-BE49-F238E27FC236}">
                <a16:creationId xmlns:a16="http://schemas.microsoft.com/office/drawing/2014/main" id="{E2A96F0C-9D38-B74B-B68A-AC617F3963F0}"/>
              </a:ext>
            </a:extLst>
          </p:cNvPr>
          <p:cNvCxnSpPr>
            <a:cxnSpLocks/>
          </p:cNvCxnSpPr>
          <p:nvPr/>
        </p:nvCxnSpPr>
        <p:spPr>
          <a:xfrm flipV="1">
            <a:off x="5020660" y="5460129"/>
            <a:ext cx="1265002" cy="56703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D25B4F71-CD95-594F-8234-3C1C6C3629CD}"/>
              </a:ext>
            </a:extLst>
          </p:cNvPr>
          <p:cNvSpPr txBox="1"/>
          <p:nvPr/>
        </p:nvSpPr>
        <p:spPr>
          <a:xfrm rot="20303354">
            <a:off x="4776361" y="5105038"/>
            <a:ext cx="16210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анк не </a:t>
            </a:r>
            <a:r>
              <a:rPr lang="ru-RU" dirty="0" err="1"/>
              <a:t>дефолтит</a:t>
            </a:r>
            <a:r>
              <a:rPr lang="ru-RU" dirty="0"/>
              <a:t> 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AC3A0555-3AD8-3543-990D-35FEA789CD6E}"/>
              </a:ext>
            </a:extLst>
          </p:cNvPr>
          <p:cNvCxnSpPr>
            <a:cxnSpLocks/>
          </p:cNvCxnSpPr>
          <p:nvPr/>
        </p:nvCxnSpPr>
        <p:spPr>
          <a:xfrm>
            <a:off x="4983855" y="6122772"/>
            <a:ext cx="1475574" cy="35623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AEF6157E-AA77-4247-A7DA-AD84A655D12A}"/>
              </a:ext>
            </a:extLst>
          </p:cNvPr>
          <p:cNvSpPr txBox="1"/>
          <p:nvPr/>
        </p:nvSpPr>
        <p:spPr>
          <a:xfrm rot="692268">
            <a:off x="5192807" y="6036982"/>
            <a:ext cx="14625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Банк </a:t>
            </a:r>
            <a:r>
              <a:rPr lang="ru-RU" dirty="0" err="1">
                <a:solidFill>
                  <a:srgbClr val="FF0000"/>
                </a:solidFill>
              </a:rPr>
              <a:t>дефолтит</a:t>
            </a:r>
            <a:r>
              <a:rPr lang="ru-RU" dirty="0">
                <a:solidFill>
                  <a:srgbClr val="FF0000"/>
                </a:solidFill>
              </a:rPr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B126D7B-1E33-F040-A378-0CB446D049BE}"/>
                  </a:ext>
                </a:extLst>
              </p:cNvPr>
              <p:cNvSpPr txBox="1"/>
              <p:nvPr/>
            </p:nvSpPr>
            <p:spPr>
              <a:xfrm>
                <a:off x="6285662" y="6300887"/>
                <a:ext cx="23673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(1−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𝑅𝑅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)∗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𝑀𝑡𝑀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B126D7B-1E33-F040-A378-0CB446D049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5662" y="6300887"/>
                <a:ext cx="2367398" cy="369332"/>
              </a:xfrm>
              <a:prstGeom prst="rect">
                <a:avLst/>
              </a:prstGeom>
              <a:blipFill>
                <a:blip r:embed="rId11"/>
                <a:stretch>
                  <a:fillRect b="-1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2" name="TextBox 61">
            <a:extLst>
              <a:ext uri="{FF2B5EF4-FFF2-40B4-BE49-F238E27FC236}">
                <a16:creationId xmlns:a16="http://schemas.microsoft.com/office/drawing/2014/main" id="{FFF5DC3E-F324-3D4F-AA45-5B043D6F9335}"/>
              </a:ext>
            </a:extLst>
          </p:cNvPr>
          <p:cNvSpPr txBox="1"/>
          <p:nvPr/>
        </p:nvSpPr>
        <p:spPr>
          <a:xfrm>
            <a:off x="9144000" y="3810660"/>
            <a:ext cx="24898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ена для клиента</a:t>
            </a:r>
            <a:r>
              <a:rPr lang="en-US" dirty="0"/>
              <a:t> </a:t>
            </a:r>
            <a:r>
              <a:rPr lang="ru-RU" dirty="0"/>
              <a:t>=</a:t>
            </a:r>
            <a:r>
              <a:rPr lang="en-US" dirty="0"/>
              <a:t> </a:t>
            </a:r>
            <a:r>
              <a:rPr lang="en-US" dirty="0" err="1"/>
              <a:t>RiskFreePrice+CVA-DVA</a:t>
            </a:r>
            <a:endParaRPr lang="ru-RU" dirty="0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F498EB43-22A5-C541-9156-EFE07F4FBE05}"/>
              </a:ext>
            </a:extLst>
          </p:cNvPr>
          <p:cNvSpPr/>
          <p:nvPr/>
        </p:nvSpPr>
        <p:spPr>
          <a:xfrm>
            <a:off x="9239703" y="5117241"/>
            <a:ext cx="1052111" cy="560291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544A684-069D-4D47-B0DA-79FDFAF75E10}"/>
              </a:ext>
            </a:extLst>
          </p:cNvPr>
          <p:cNvSpPr txBox="1"/>
          <p:nvPr/>
        </p:nvSpPr>
        <p:spPr>
          <a:xfrm>
            <a:off x="9420655" y="5228333"/>
            <a:ext cx="871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MC!</a:t>
            </a:r>
            <a:endParaRPr lang="ru-RU" dirty="0"/>
          </a:p>
        </p:txBody>
      </p:sp>
      <p:sp>
        <p:nvSpPr>
          <p:cNvPr id="65" name="Рамка 64">
            <a:extLst>
              <a:ext uri="{FF2B5EF4-FFF2-40B4-BE49-F238E27FC236}">
                <a16:creationId xmlns:a16="http://schemas.microsoft.com/office/drawing/2014/main" id="{D72F47F5-DB55-754D-8EAC-FB0BBE47FC48}"/>
              </a:ext>
            </a:extLst>
          </p:cNvPr>
          <p:cNvSpPr/>
          <p:nvPr/>
        </p:nvSpPr>
        <p:spPr>
          <a:xfrm>
            <a:off x="8798303" y="3636952"/>
            <a:ext cx="2945678" cy="1169025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261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2" y="194618"/>
            <a:ext cx="6718051" cy="646330"/>
          </a:xfrm>
        </p:spPr>
        <p:txBody>
          <a:bodyPr>
            <a:normAutofit fontScale="90000"/>
          </a:bodyPr>
          <a:lstStyle/>
          <a:p>
            <a:r>
              <a:rPr lang="ru-RU" sz="3600" dirty="0"/>
              <a:t>Эволюция </a:t>
            </a:r>
            <a:r>
              <a:rPr lang="ru-RU" sz="3600" dirty="0" err="1"/>
              <a:t>прайсинга</a:t>
            </a:r>
            <a:r>
              <a:rPr lang="en-US" sz="3600" dirty="0"/>
              <a:t> </a:t>
            </a:r>
            <a:r>
              <a:rPr lang="ru-RU" sz="3600" dirty="0" err="1"/>
              <a:t>деривативов</a:t>
            </a:r>
            <a:endParaRPr lang="ru-RU" sz="3600" dirty="0"/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585216" y="3355848"/>
            <a:ext cx="10735056" cy="27432"/>
          </a:xfrm>
          <a:prstGeom prst="straightConnector1">
            <a:avLst/>
          </a:prstGeom>
          <a:ln w="825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93035" y="1946622"/>
            <a:ext cx="155449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>
                <a:solidFill>
                  <a:schemeClr val="tx2"/>
                </a:solidFill>
              </a:rPr>
              <a:t>Ванильный европейский опцион</a:t>
            </a:r>
            <a:r>
              <a:rPr lang="en-US" u="sng" dirty="0">
                <a:solidFill>
                  <a:schemeClr val="tx2"/>
                </a:solidFill>
              </a:rPr>
              <a:t> </a:t>
            </a:r>
            <a:r>
              <a:rPr lang="ru-RU" u="sng" dirty="0">
                <a:solidFill>
                  <a:schemeClr val="tx2"/>
                </a:solidFill>
              </a:rPr>
              <a:t>в </a:t>
            </a:r>
            <a:r>
              <a:rPr lang="en-US" u="sng" dirty="0">
                <a:solidFill>
                  <a:schemeClr val="tx2"/>
                </a:solidFill>
              </a:rPr>
              <a:t>GMB</a:t>
            </a:r>
            <a:endParaRPr lang="ru-RU" u="sng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6756" y="3650600"/>
            <a:ext cx="16608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>
                <a:solidFill>
                  <a:schemeClr val="tx2"/>
                </a:solidFill>
              </a:rPr>
              <a:t>Аналитические формул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80899" y="1627472"/>
            <a:ext cx="149784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>
                <a:solidFill>
                  <a:schemeClr val="tx2"/>
                </a:solidFill>
              </a:rPr>
              <a:t>Барьерный опцион с ранним исполнение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8441" y="3727350"/>
            <a:ext cx="23635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u="sng" dirty="0">
                <a:solidFill>
                  <a:schemeClr val="tx2"/>
                </a:solidFill>
              </a:rPr>
              <a:t>American Monte Carlo</a:t>
            </a:r>
            <a:endParaRPr lang="ru-RU" u="sng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78626" y="6149756"/>
            <a:ext cx="2923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</a:rPr>
              <a:t>Модел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490827" y="1059154"/>
            <a:ext cx="292383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</a:rPr>
              <a:t>Инструменты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AD61E42-4F32-B140-ABED-8A7FA569A0A1}"/>
                  </a:ext>
                </a:extLst>
              </p:cNvPr>
              <p:cNvSpPr txBox="1"/>
              <p:nvPr/>
            </p:nvSpPr>
            <p:spPr>
              <a:xfrm>
                <a:off x="259613" y="4544024"/>
                <a:ext cx="2961888" cy="3702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p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AD61E42-4F32-B140-ABED-8A7FA569A0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13" y="4544024"/>
                <a:ext cx="2961888" cy="37023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E4DAF5-0E21-3C4F-B2CF-62ACE1F55CE7}"/>
                  </a:ext>
                </a:extLst>
              </p:cNvPr>
              <p:cNvSpPr txBox="1"/>
              <p:nvPr/>
            </p:nvSpPr>
            <p:spPr>
              <a:xfrm>
                <a:off x="319489" y="5185531"/>
                <a:ext cx="29020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𝑁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𝐾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𝑇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𝑁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DE4DAF5-0E21-3C4F-B2CF-62ACE1F55C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9489" y="5185531"/>
                <a:ext cx="2902012" cy="276999"/>
              </a:xfrm>
              <a:prstGeom prst="rect">
                <a:avLst/>
              </a:prstGeom>
              <a:blipFill>
                <a:blip r:embed="rId3"/>
                <a:stretch>
                  <a:fillRect l="-870" t="-4348" b="-1304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A1E18FB0-6C17-F846-9025-A6945ABE76AB}"/>
              </a:ext>
            </a:extLst>
          </p:cNvPr>
          <p:cNvSpPr txBox="1"/>
          <p:nvPr/>
        </p:nvSpPr>
        <p:spPr>
          <a:xfrm>
            <a:off x="4229580" y="3742933"/>
            <a:ext cx="16608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u="sng" dirty="0">
                <a:solidFill>
                  <a:schemeClr val="tx2"/>
                </a:solidFill>
              </a:rPr>
              <a:t>Монте-Карло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C628A46-BC8E-1441-8FE4-369597E1921A}"/>
                  </a:ext>
                </a:extLst>
              </p:cNvPr>
              <p:cNvSpPr txBox="1"/>
              <p:nvPr/>
            </p:nvSpPr>
            <p:spPr>
              <a:xfrm>
                <a:off x="3953936" y="4471919"/>
                <a:ext cx="2902012" cy="3702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𝑄</m:t>
                          </m:r>
                        </m:sup>
                      </m:sSup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𝑇</m:t>
                                  </m:r>
                                </m:sup>
                              </m:sSup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C628A46-BC8E-1441-8FE4-369597E192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53936" y="4471919"/>
                <a:ext cx="2902012" cy="37023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Рамка 14">
            <a:extLst>
              <a:ext uri="{FF2B5EF4-FFF2-40B4-BE49-F238E27FC236}">
                <a16:creationId xmlns:a16="http://schemas.microsoft.com/office/drawing/2014/main" id="{76523DAB-8BA6-5D45-B91B-F7A66D6DB14F}"/>
              </a:ext>
            </a:extLst>
          </p:cNvPr>
          <p:cNvSpPr/>
          <p:nvPr/>
        </p:nvSpPr>
        <p:spPr>
          <a:xfrm>
            <a:off x="4307595" y="925417"/>
            <a:ext cx="1399142" cy="495759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Рамка 15">
            <a:extLst>
              <a:ext uri="{FF2B5EF4-FFF2-40B4-BE49-F238E27FC236}">
                <a16:creationId xmlns:a16="http://schemas.microsoft.com/office/drawing/2014/main" id="{08E2E252-17D1-A949-BD20-E0CA43566327}"/>
              </a:ext>
            </a:extLst>
          </p:cNvPr>
          <p:cNvSpPr/>
          <p:nvPr/>
        </p:nvSpPr>
        <p:spPr>
          <a:xfrm>
            <a:off x="4490827" y="6049329"/>
            <a:ext cx="1215910" cy="416297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938CBF3-7CBB-6B41-9CC9-BF5005BF4F2F}"/>
                  </a:ext>
                </a:extLst>
              </p:cNvPr>
              <p:cNvSpPr txBox="1"/>
              <p:nvPr/>
            </p:nvSpPr>
            <p:spPr>
              <a:xfrm>
                <a:off x="4038695" y="5073064"/>
                <a:ext cx="2398349" cy="7789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ru-RU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𝑇</m:t>
                              </m:r>
                            </m:sup>
                          </m:sSup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Sup>
                                    <m:sSub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b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p>
                                  </m:sSub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938CBF3-7CBB-6B41-9CC9-BF5005BF4F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8695" y="5073064"/>
                <a:ext cx="2398349" cy="778931"/>
              </a:xfrm>
              <a:prstGeom prst="rect">
                <a:avLst/>
              </a:prstGeom>
              <a:blipFill>
                <a:blip r:embed="rId5"/>
                <a:stretch>
                  <a:fillRect l="-13228" t="-111290" r="-529" b="-17419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032BB8A0-ED4C-6D48-B0EA-ACB8A1ECDDFE}"/>
              </a:ext>
            </a:extLst>
          </p:cNvPr>
          <p:cNvSpPr txBox="1"/>
          <p:nvPr/>
        </p:nvSpPr>
        <p:spPr>
          <a:xfrm>
            <a:off x="4038695" y="1867009"/>
            <a:ext cx="18517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>
                <a:solidFill>
                  <a:schemeClr val="tx2"/>
                </a:solidFill>
              </a:rPr>
              <a:t>Азиатский опцион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01C5F39-F605-0847-9060-01131F9CF82A}"/>
                  </a:ext>
                </a:extLst>
              </p:cNvPr>
              <p:cNvSpPr txBox="1"/>
              <p:nvPr/>
            </p:nvSpPr>
            <p:spPr>
              <a:xfrm>
                <a:off x="7282150" y="4223613"/>
                <a:ext cx="3247659" cy="49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[0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]</m:t>
                              </m:r>
                            </m:lim>
                          </m:limLow>
                        </m:fName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𝑇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𝐾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p>
                            </m:e>
                          </m:d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01C5F39-F605-0847-9060-01131F9CF8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2150" y="4223613"/>
                <a:ext cx="3247659" cy="496611"/>
              </a:xfrm>
              <a:prstGeom prst="rect">
                <a:avLst/>
              </a:prstGeom>
              <a:blipFill>
                <a:blip r:embed="rId6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0BA690C-DB39-1241-9DA5-429707FB3A58}"/>
                  </a:ext>
                </a:extLst>
              </p:cNvPr>
              <p:cNvSpPr txBox="1"/>
              <p:nvPr/>
            </p:nvSpPr>
            <p:spPr>
              <a:xfrm>
                <a:off x="6691746" y="5670371"/>
                <a:ext cx="5345181" cy="3286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⁡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h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1)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0BA690C-DB39-1241-9DA5-429707FB3A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91746" y="5670371"/>
                <a:ext cx="5345181" cy="328616"/>
              </a:xfrm>
              <a:prstGeom prst="rect">
                <a:avLst/>
              </a:prstGeom>
              <a:blipFill>
                <a:blip r:embed="rId7"/>
                <a:stretch>
                  <a:fillRect l="-711" b="-2222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E53310C-8568-F544-B2A9-50B22AF664EB}"/>
                  </a:ext>
                </a:extLst>
              </p:cNvPr>
              <p:cNvSpPr txBox="1"/>
              <p:nvPr/>
            </p:nvSpPr>
            <p:spPr>
              <a:xfrm>
                <a:off x="7282150" y="4914254"/>
                <a:ext cx="339319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Какое оптимальное время экспирации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𝜏</m:t>
                    </m:r>
                  </m:oMath>
                </a14:m>
                <a:r>
                  <a:rPr lang="ru-RU" dirty="0"/>
                  <a:t>?</a:t>
                </a:r>
              </a:p>
            </p:txBody>
          </p:sp>
        </mc:Choice>
        <mc:Fallback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E53310C-8568-F544-B2A9-50B22AF664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2150" y="4914254"/>
                <a:ext cx="3393195" cy="646331"/>
              </a:xfrm>
              <a:prstGeom prst="rect">
                <a:avLst/>
              </a:prstGeom>
              <a:blipFill>
                <a:blip r:embed="rId8"/>
                <a:stretch>
                  <a:fillRect l="-1493" t="-3846" b="-1538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3800439-86E8-D440-9C65-227CFD398763}"/>
                  </a:ext>
                </a:extLst>
              </p:cNvPr>
              <p:cNvSpPr txBox="1"/>
              <p:nvPr/>
            </p:nvSpPr>
            <p:spPr>
              <a:xfrm>
                <a:off x="5404942" y="6082910"/>
                <a:ext cx="6097836" cy="682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1)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nary>
                        <m:naryPr>
                          <m:chr m:val="∑"/>
                          <m:limLoc m:val="subSup"/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3800439-86E8-D440-9C65-227CFD3987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4942" y="6082910"/>
                <a:ext cx="6097836" cy="682110"/>
              </a:xfrm>
              <a:prstGeom prst="rect">
                <a:avLst/>
              </a:prstGeom>
              <a:blipFill>
                <a:blip r:embed="rId9"/>
                <a:stretch>
                  <a:fillRect t="-138889" b="-20370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TextBox 25">
            <a:extLst>
              <a:ext uri="{FF2B5EF4-FFF2-40B4-BE49-F238E27FC236}">
                <a16:creationId xmlns:a16="http://schemas.microsoft.com/office/drawing/2014/main" id="{47A5171B-0025-D244-A9AE-D166D5544DDD}"/>
              </a:ext>
            </a:extLst>
          </p:cNvPr>
          <p:cNvSpPr txBox="1"/>
          <p:nvPr/>
        </p:nvSpPr>
        <p:spPr>
          <a:xfrm>
            <a:off x="9512372" y="1624503"/>
            <a:ext cx="14978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u="sng" dirty="0">
                <a:solidFill>
                  <a:schemeClr val="tx2"/>
                </a:solidFill>
              </a:rPr>
              <a:t>Американский опцион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7CBDA43-E3B6-3440-BA1C-1126312A41AB}"/>
              </a:ext>
            </a:extLst>
          </p:cNvPr>
          <p:cNvSpPr txBox="1"/>
          <p:nvPr/>
        </p:nvSpPr>
        <p:spPr>
          <a:xfrm>
            <a:off x="7254721" y="3574194"/>
            <a:ext cx="165125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u="sng" dirty="0">
                <a:solidFill>
                  <a:schemeClr val="tx2"/>
                </a:solidFill>
              </a:rPr>
              <a:t>Regression Based Monte Carlo</a:t>
            </a:r>
            <a:endParaRPr lang="ru-RU" u="sng" dirty="0">
              <a:solidFill>
                <a:schemeClr val="tx2"/>
              </a:solidFill>
            </a:endParaRPr>
          </a:p>
        </p:txBody>
      </p:sp>
      <p:sp>
        <p:nvSpPr>
          <p:cNvPr id="28" name="Рамка 27">
            <a:extLst>
              <a:ext uri="{FF2B5EF4-FFF2-40B4-BE49-F238E27FC236}">
                <a16:creationId xmlns:a16="http://schemas.microsoft.com/office/drawing/2014/main" id="{51588834-0A8B-EF4E-AB59-5D1D2A72857E}"/>
              </a:ext>
            </a:extLst>
          </p:cNvPr>
          <p:cNvSpPr/>
          <p:nvPr/>
        </p:nvSpPr>
        <p:spPr>
          <a:xfrm>
            <a:off x="7160963" y="4890033"/>
            <a:ext cx="3216925" cy="679912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442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3B53AD-6338-5C4B-9A08-000A4086F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441" y="120013"/>
            <a:ext cx="10515600" cy="648426"/>
          </a:xfrm>
        </p:spPr>
        <p:txBody>
          <a:bodyPr>
            <a:normAutofit fontScale="90000"/>
          </a:bodyPr>
          <a:lstStyle/>
          <a:p>
            <a:r>
              <a:rPr lang="en-US" dirty="0"/>
              <a:t>Regression Based Monte Carlo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/>
              <p:nvPr/>
            </p:nvSpPr>
            <p:spPr>
              <a:xfrm>
                <a:off x="462708" y="936434"/>
                <a:ext cx="3247659" cy="496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unc>
                        <m:func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[0,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]</m:t>
                              </m:r>
                            </m:lim>
                          </m:limLow>
                        </m:fName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𝑇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𝑇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𝐾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</m:sup>
                              </m:sSup>
                            </m:e>
                          </m:d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A107D62-3AF2-6E42-B78B-CDFDF2FF74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936434"/>
                <a:ext cx="3247659" cy="496611"/>
              </a:xfrm>
              <a:prstGeom prst="rect">
                <a:avLst/>
              </a:prstGeom>
              <a:blipFill>
                <a:blip r:embed="rId2"/>
                <a:stretch>
                  <a:fillRect b="-7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/>
              <p:nvPr/>
            </p:nvSpPr>
            <p:spPr>
              <a:xfrm>
                <a:off x="462708" y="1467474"/>
                <a:ext cx="1114907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Пусть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lt;…&lt;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 −</m:t>
                    </m:r>
                    <m:r>
                      <a:rPr lang="ru-RU" b="0" i="1" smtClean="0">
                        <a:latin typeface="Cambria Math" panose="02040503050406030204" pitchFamily="18" charset="0"/>
                      </a:rPr>
                      <m:t>моменты времени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ru-RU" b="0" i="1" smtClean="0">
                        <a:latin typeface="Cambria Math" panose="02040503050406030204" pitchFamily="18" charset="0"/>
                      </a:rPr>
                      <m:t>в которые можно исполнить опцион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DD9BF4-9890-674D-BFB1-A30936620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1467474"/>
                <a:ext cx="11149070" cy="369332"/>
              </a:xfrm>
              <a:prstGeom prst="rect">
                <a:avLst/>
              </a:prstGeom>
              <a:blipFill>
                <a:blip r:embed="rId3"/>
                <a:stretch>
                  <a:fillRect l="-455" t="-6667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62844818-5935-0148-AB6A-34DB785D1B56}"/>
              </a:ext>
            </a:extLst>
          </p:cNvPr>
          <p:cNvSpPr txBox="1"/>
          <p:nvPr/>
        </p:nvSpPr>
        <p:spPr>
          <a:xfrm>
            <a:off x="462708" y="1964085"/>
            <a:ext cx="6665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пользуем принцип динамического программирования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/>
              <p:nvPr/>
            </p:nvSpPr>
            <p:spPr>
              <a:xfrm>
                <a:off x="462708" y="2460696"/>
                <a:ext cx="8534644" cy="3286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max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⁡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h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,…,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;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CBA46E9-54B0-4745-BDD3-B8DBBFC47C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2460696"/>
                <a:ext cx="8534644" cy="328616"/>
              </a:xfrm>
              <a:prstGeom prst="rect">
                <a:avLst/>
              </a:prstGeom>
              <a:blipFill>
                <a:blip r:embed="rId4"/>
                <a:stretch>
                  <a:fillRect l="-297" r="-594" b="-259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607DFFB3-FF03-0343-86C9-13AC5AA25B9B}"/>
              </a:ext>
            </a:extLst>
          </p:cNvPr>
          <p:cNvSpPr txBox="1"/>
          <p:nvPr/>
        </p:nvSpPr>
        <p:spPr>
          <a:xfrm>
            <a:off x="422433" y="2889607"/>
            <a:ext cx="36061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дея </a:t>
            </a:r>
            <a:r>
              <a:rPr lang="en-US" dirty="0"/>
              <a:t>Regression-Based Monte Carlo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/>
              <p:nvPr/>
            </p:nvSpPr>
            <p:spPr>
              <a:xfrm>
                <a:off x="422433" y="3359235"/>
                <a:ext cx="11149070" cy="4157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)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nary>
                      <m:naryPr>
                        <m:chr m:val="∑"/>
                        <m:limLoc m:val="subSup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𝑘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 </m:t>
                        </m:r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где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 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r>
                  <a:rPr lang="ru-RU" dirty="0"/>
                  <a:t>-базисные функции</a:t>
                </a:r>
                <a:r>
                  <a:rPr lang="en-US" dirty="0"/>
                  <a:t>, </a:t>
                </a:r>
                <a:r>
                  <a:rPr lang="ru-RU" dirty="0"/>
                  <a:t>а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𝑘</m:t>
                        </m:r>
                      </m:sub>
                    </m:sSub>
                  </m:oMath>
                </a14:m>
                <a:r>
                  <a:rPr lang="ru-RU" dirty="0"/>
                  <a:t> - константы</a:t>
                </a:r>
                <a:r>
                  <a:rPr lang="en-US" dirty="0"/>
                  <a:t>, </a:t>
                </a:r>
                <a:r>
                  <a:rPr lang="ru-RU" dirty="0"/>
                  <a:t>которые надо задать </a:t>
                </a: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6C5E45E-2C56-2E4B-A76B-A47BA11BF6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2433" y="3359235"/>
                <a:ext cx="11149070" cy="415755"/>
              </a:xfrm>
              <a:prstGeom prst="rect">
                <a:avLst/>
              </a:prstGeom>
              <a:blipFill>
                <a:blip r:embed="rId5"/>
                <a:stretch>
                  <a:fillRect t="-91176" b="-14117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2CF4C77-485F-0F4E-89FF-053B02FA57E7}"/>
                  </a:ext>
                </a:extLst>
              </p:cNvPr>
              <p:cNvSpPr txBox="1"/>
              <p:nvPr/>
            </p:nvSpPr>
            <p:spPr>
              <a:xfrm>
                <a:off x="411417" y="3823250"/>
                <a:ext cx="10186809" cy="3703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Насимулировав </a:t>
                </a:r>
                <a:r>
                  <a:rPr lang="en-US" dirty="0"/>
                  <a:t>N </a:t>
                </a:r>
                <a:r>
                  <a:rPr lang="ru-RU" dirty="0"/>
                  <a:t>штук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1,…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ru-RU" dirty="0"/>
                  <a:t> </a:t>
                </a:r>
                <a:r>
                  <a:rPr lang="en-US" dirty="0"/>
                  <a:t>,</a:t>
                </a:r>
                <a:r>
                  <a:rPr lang="ru-RU" dirty="0"/>
                  <a:t>найдем вектор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…,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𝑀</m:t>
                                </m:r>
                              </m:sub>
                            </m:sSub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sup>
                    </m:sSup>
                    <m:r>
                      <a:rPr lang="ru-RU" b="0" i="1" smtClean="0">
                        <a:latin typeface="Cambria Math" panose="02040503050406030204" pitchFamily="18" charset="0"/>
                      </a:rPr>
                      <m:t>из условия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2CF4C77-485F-0F4E-89FF-053B02FA57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417" y="3823250"/>
                <a:ext cx="10186809" cy="370358"/>
              </a:xfrm>
              <a:prstGeom prst="rect">
                <a:avLst/>
              </a:prstGeom>
              <a:blipFill>
                <a:blip r:embed="rId6"/>
                <a:stretch>
                  <a:fillRect l="-498" t="-3226" b="-2258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/>
              <p:nvPr/>
            </p:nvSpPr>
            <p:spPr>
              <a:xfrm>
                <a:off x="547561" y="4373274"/>
                <a:ext cx="3247749" cy="4024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𝛽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lim>
                          </m:limLow>
                        </m:fName>
                        <m:e>
                          <m:sSup>
                            <m:sSupPr>
                              <m:ctrlPr>
                                <a:rPr lang="en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𝑉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+1,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</a:rPr>
                                            <m:t>+1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𝜓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(</m:t>
                                      </m:r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𝑇</m:t>
                                      </m:r>
                                    </m:sup>
                                  </m:sSup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𝛽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func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CA650E9-DC2F-C44A-83EB-B936CBB8C4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561" y="4373274"/>
                <a:ext cx="3247749" cy="402482"/>
              </a:xfrm>
              <a:prstGeom prst="rect">
                <a:avLst/>
              </a:prstGeom>
              <a:blipFill>
                <a:blip r:embed="rId7"/>
                <a:stretch>
                  <a:fillRect l="-1167" b="-218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44F5658-072F-7B48-814A-37CD13EE3890}"/>
                  </a:ext>
                </a:extLst>
              </p:cNvPr>
              <p:cNvSpPr txBox="1"/>
              <p:nvPr/>
            </p:nvSpPr>
            <p:spPr>
              <a:xfrm>
                <a:off x="4964934" y="4375101"/>
                <a:ext cx="5633292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Здесь</a:t>
                </a:r>
                <a:r>
                  <a:rPr lang="en-US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𝜓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ru-RU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−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это матрица 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44F5658-072F-7B48-814A-37CD13EE38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4934" y="4375101"/>
                <a:ext cx="5633292" cy="381515"/>
              </a:xfrm>
              <a:prstGeom prst="rect">
                <a:avLst/>
              </a:prstGeom>
              <a:blipFill>
                <a:blip r:embed="rId8"/>
                <a:stretch>
                  <a:fillRect l="-899" t="-6452" b="-2258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35520AB-9661-3248-B8F6-88F4D9A71FCF}"/>
                  </a:ext>
                </a:extLst>
              </p:cNvPr>
              <p:cNvSpPr txBox="1"/>
              <p:nvPr/>
            </p:nvSpPr>
            <p:spPr>
              <a:xfrm>
                <a:off x="5227717" y="4947863"/>
                <a:ext cx="5370509" cy="27802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+1,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</m:oMath>
                </a14:m>
                <a:r>
                  <a:rPr lang="en-US" dirty="0"/>
                  <a:t>)=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,</m:t>
                        </m:r>
                        <m:sSubSup>
                          <m:sSub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m:rPr>
                            <m:nor/>
                          </m:rPr>
                          <a:rPr lang="en-US" dirty="0"/>
                          <m:t>)=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1…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</m:sSub>
                  </m:oMath>
                </a14:m>
                <a:r>
                  <a:rPr lang="en-US" dirty="0"/>
                  <a:t>- </a:t>
                </a:r>
                <a:r>
                  <a:rPr lang="ru-RU" dirty="0"/>
                  <a:t>это </a:t>
                </a:r>
                <a:r>
                  <a:rPr lang="en-US" dirty="0"/>
                  <a:t>N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1 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вектор 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35520AB-9661-3248-B8F6-88F4D9A71F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7717" y="4947863"/>
                <a:ext cx="5370509" cy="278025"/>
              </a:xfrm>
              <a:prstGeom prst="rect">
                <a:avLst/>
              </a:prstGeom>
              <a:blipFill>
                <a:blip r:embed="rId9"/>
                <a:stretch>
                  <a:fillRect l="-1415" t="-21739" r="-2123" b="-478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/>
              <p:nvPr/>
            </p:nvSpPr>
            <p:spPr>
              <a:xfrm>
                <a:off x="462708" y="5086875"/>
                <a:ext cx="3936719" cy="3667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ru-RU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ru-RU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𝛽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𝜓</m:t>
                                  </m:r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𝜓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1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7CC170-ED3E-7B4D-8AE1-E7D3DF0D2A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08" y="5086875"/>
                <a:ext cx="3936719" cy="366767"/>
              </a:xfrm>
              <a:prstGeom prst="rect">
                <a:avLst/>
              </a:prstGeom>
              <a:blipFill>
                <a:blip r:embed="rId10"/>
                <a:stretch>
                  <a:fillRect l="-1608" r="-1608" b="-2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/>
              <p:nvPr/>
            </p:nvSpPr>
            <p:spPr>
              <a:xfrm>
                <a:off x="649995" y="5929704"/>
                <a:ext cx="7365093" cy="3178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d>
                              <m:d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+1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e>
                            </m:d>
                          </m:sup>
                        </m:s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sub>
                        </m:sSub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|</m:t>
                        </m:r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≔</m:t>
                    </m:r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</m:sup>
                    </m:sSup>
                  </m:oMath>
                </a14:m>
                <a:r>
                  <a:rPr lang="en-US" b="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limLoc m:val="subSup"/>
                        <m:ctrl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5"/>
                          </m:rP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𝑘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p>
                      <m:e>
                        <m:acc>
                          <m:accPr>
                            <m:chr m:val="̂"/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accPr>
                          <m:e>
                            <m:sSub>
                              <m:sSub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𝛽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𝑖𝑘</m:t>
                                </m:r>
                              </m:sub>
                            </m:sSub>
                          </m:e>
                        </m:acc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𝜓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𝑘</m:t>
                            </m:r>
                          </m:sub>
                        </m:sSub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nary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F84ECE1-029D-2547-BFA4-DFF3E361C8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995" y="5929704"/>
                <a:ext cx="7365093" cy="317844"/>
              </a:xfrm>
              <a:prstGeom prst="rect">
                <a:avLst/>
              </a:prstGeom>
              <a:blipFill>
                <a:blip r:embed="rId11"/>
                <a:stretch>
                  <a:fillRect l="-1033" t="-134615" b="-20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Рамка 14">
            <a:extLst>
              <a:ext uri="{FF2B5EF4-FFF2-40B4-BE49-F238E27FC236}">
                <a16:creationId xmlns:a16="http://schemas.microsoft.com/office/drawing/2014/main" id="{71DA36FB-5B6C-DE41-805C-E3C50EACBB39}"/>
              </a:ext>
            </a:extLst>
          </p:cNvPr>
          <p:cNvSpPr/>
          <p:nvPr/>
        </p:nvSpPr>
        <p:spPr>
          <a:xfrm>
            <a:off x="462708" y="5783855"/>
            <a:ext cx="7733841" cy="848299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Рамка 15">
            <a:extLst>
              <a:ext uri="{FF2B5EF4-FFF2-40B4-BE49-F238E27FC236}">
                <a16:creationId xmlns:a16="http://schemas.microsoft.com/office/drawing/2014/main" id="{B0CBD763-1EEC-BB41-9229-22DB4348B9BF}"/>
              </a:ext>
            </a:extLst>
          </p:cNvPr>
          <p:cNvSpPr/>
          <p:nvPr/>
        </p:nvSpPr>
        <p:spPr>
          <a:xfrm>
            <a:off x="242371" y="3258939"/>
            <a:ext cx="4307595" cy="564311"/>
          </a:xfrm>
          <a:prstGeom prst="fram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165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908022-9093-7943-BE92-AC46187A5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91" y="297456"/>
            <a:ext cx="10515600" cy="661012"/>
          </a:xfrm>
        </p:spPr>
        <p:txBody>
          <a:bodyPr>
            <a:normAutofit fontScale="90000"/>
          </a:bodyPr>
          <a:lstStyle/>
          <a:p>
            <a:r>
              <a:rPr lang="ru-RU" dirty="0"/>
              <a:t>Алгоритм </a:t>
            </a:r>
            <a:r>
              <a:rPr lang="en-US" dirty="0"/>
              <a:t>Regression Based Monte-Carlo</a:t>
            </a:r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F76E2658-D77F-F745-89E3-D476990710B2}"/>
                  </a:ext>
                </a:extLst>
              </p:cNvPr>
              <p:cNvSpPr txBox="1"/>
              <p:nvPr/>
            </p:nvSpPr>
            <p:spPr>
              <a:xfrm>
                <a:off x="572877" y="1440763"/>
                <a:ext cx="483331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dirty="0"/>
                  <a:t>Насимулировать </a:t>
                </a:r>
                <a:r>
                  <a:rPr lang="en-US" dirty="0"/>
                  <a:t>N </a:t>
                </a:r>
                <a:r>
                  <a:rPr lang="ru-RU" dirty="0"/>
                  <a:t>путей </a:t>
                </a:r>
                <a:r>
                  <a:rPr lang="en-US" dirty="0"/>
                  <a:t>S </a:t>
                </a:r>
                <a:r>
                  <a:rPr lang="ru-RU" dirty="0"/>
                  <a:t>для</a:t>
                </a:r>
                <a:r>
                  <a:rPr lang="en-US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&lt;…&lt;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ru-RU" dirty="0"/>
                  <a:t> </a:t>
                </a:r>
              </a:p>
            </p:txBody>
          </p:sp>
        </mc:Choice>
        <mc:Fallback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F76E2658-D77F-F745-89E3-D476990710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2877" y="1440763"/>
                <a:ext cx="4833311" cy="369332"/>
              </a:xfrm>
              <a:prstGeom prst="rect">
                <a:avLst/>
              </a:prstGeom>
              <a:blipFill>
                <a:blip r:embed="rId2"/>
                <a:stretch>
                  <a:fillRect l="-787" t="-6667" b="-26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358C6F23-472D-2D4E-85E4-A8CF0A984A24}"/>
                  </a:ext>
                </a:extLst>
              </p:cNvPr>
              <p:cNvSpPr txBox="1"/>
              <p:nvPr/>
            </p:nvSpPr>
            <p:spPr>
              <a:xfrm>
                <a:off x="683046" y="2023439"/>
                <a:ext cx="429450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В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b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ru-RU" dirty="0"/>
                  <a:t> </a:t>
                </a:r>
                <a:r>
                  <a:rPr lang="en-US" dirty="0"/>
                  <a:t>, V(m,</a:t>
                </a:r>
                <a:r>
                  <a:rPr lang="ru-RU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)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h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358C6F23-472D-2D4E-85E4-A8CF0A984A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046" y="2023439"/>
                <a:ext cx="4294509" cy="276999"/>
              </a:xfrm>
              <a:prstGeom prst="rect">
                <a:avLst/>
              </a:prstGeom>
              <a:blipFill>
                <a:blip r:embed="rId3"/>
                <a:stretch>
                  <a:fillRect l="-2941" t="-27273" r="-588" b="-5454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AE49114-CA7E-5147-B032-22FE1AC74C5A}"/>
                  </a:ext>
                </a:extLst>
              </p:cNvPr>
              <p:cNvSpPr txBox="1"/>
              <p:nvPr/>
            </p:nvSpPr>
            <p:spPr>
              <a:xfrm>
                <a:off x="683046" y="2610997"/>
                <a:ext cx="315477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Для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−1, …, 1 </m:t>
                    </m:r>
                    <m:r>
                      <a:rPr lang="ru-RU" b="0" i="1" smtClean="0">
                        <a:latin typeface="Cambria Math" panose="02040503050406030204" pitchFamily="18" charset="0"/>
                      </a:rPr>
                      <m:t>делаем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AE49114-CA7E-5147-B032-22FE1AC74C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3046" y="2610997"/>
                <a:ext cx="3154774" cy="276999"/>
              </a:xfrm>
              <a:prstGeom prst="rect">
                <a:avLst/>
              </a:prstGeom>
              <a:blipFill>
                <a:blip r:embed="rId4"/>
                <a:stretch>
                  <a:fillRect l="-4000" t="-17391" b="-3913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3A1BD3-75DA-A649-A43B-6CE3DA4D5DFC}"/>
                  </a:ext>
                </a:extLst>
              </p:cNvPr>
              <p:cNvSpPr txBox="1"/>
              <p:nvPr/>
            </p:nvSpPr>
            <p:spPr>
              <a:xfrm>
                <a:off x="1034199" y="3207996"/>
                <a:ext cx="4751943" cy="29187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Используем регрессию для нахождения </m:t>
                    </m:r>
                    <m:acc>
                      <m:accPr>
                        <m:chr m:val="̂"/>
                        <m:ctrlPr>
                          <a:rPr lang="ru-RU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𝛽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acc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3A1BD3-75DA-A649-A43B-6CE3DA4D5D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199" y="3207996"/>
                <a:ext cx="4751943" cy="291875"/>
              </a:xfrm>
              <a:prstGeom prst="rect">
                <a:avLst/>
              </a:prstGeom>
              <a:blipFill>
                <a:blip r:embed="rId5"/>
                <a:stretch>
                  <a:fillRect l="-2667" t="-20833" b="-37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A40C23C-F5AF-4F4F-8C9B-713B6FD6CCA5}"/>
                  </a:ext>
                </a:extLst>
              </p:cNvPr>
              <p:cNvSpPr txBox="1"/>
              <p:nvPr/>
            </p:nvSpPr>
            <p:spPr>
              <a:xfrm>
                <a:off x="1034750" y="3897881"/>
                <a:ext cx="5648982" cy="3126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Кладем 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≔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max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⁡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ru-RU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h</m:t>
                            </m:r>
                            <m:r>
                              <a:rPr lang="ru-RU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p>
                        </m:sSubSup>
                        <m:r>
                          <a:rPr lang="ru-RU" b="0" i="1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𝐶𝑉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Sup>
                              <m:sSubSup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sup>
                            </m:sSubSup>
                          </m:e>
                        </m:d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1,…,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A40C23C-F5AF-4F4F-8C9B-713B6FD6CC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750" y="3897881"/>
                <a:ext cx="5648982" cy="312650"/>
              </a:xfrm>
              <a:prstGeom prst="rect">
                <a:avLst/>
              </a:prstGeom>
              <a:blipFill>
                <a:blip r:embed="rId6"/>
                <a:stretch>
                  <a:fillRect l="-2242" t="-7692" r="-448" b="-3461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CC84816-AF53-0C47-85AF-757E80766E61}"/>
                  </a:ext>
                </a:extLst>
              </p:cNvPr>
              <p:cNvSpPr txBox="1"/>
              <p:nvPr/>
            </p:nvSpPr>
            <p:spPr>
              <a:xfrm>
                <a:off x="1034199" y="4608541"/>
                <a:ext cx="4131003" cy="442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≔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△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sup>
                        </m:sSup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den>
                    </m:f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(1,</m:t>
                            </m:r>
                            <m:sSubSup>
                              <m:sSubSup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p>
                            </m:sSubSup>
                          </m:e>
                        </m:d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…+</m:t>
                        </m:r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𝑉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(1,</m:t>
                            </m:r>
                            <m:sSubSup>
                              <m:sSubSup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sup>
                            </m:sSubSup>
                          </m:e>
                        </m:d>
                      </m:e>
                    </m:d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CC84816-AF53-0C47-85AF-757E80766E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199" y="4608541"/>
                <a:ext cx="4131003" cy="442301"/>
              </a:xfrm>
              <a:prstGeom prst="rect">
                <a:avLst/>
              </a:prstGeom>
              <a:blipFill>
                <a:blip r:embed="rId7"/>
                <a:stretch>
                  <a:fillRect l="-3067" b="-138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515DBDA-C4FB-D542-9ED5-98F135D71E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0839" y="2610997"/>
            <a:ext cx="5090924" cy="3661634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CDF9763-48DE-E74A-B022-E8C1CECCF1AC}"/>
                  </a:ext>
                </a:extLst>
              </p:cNvPr>
              <p:cNvSpPr txBox="1"/>
              <p:nvPr/>
            </p:nvSpPr>
            <p:spPr>
              <a:xfrm>
                <a:off x="1034199" y="5310130"/>
                <a:ext cx="5432702" cy="927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Longstaff and Schwartz </a:t>
                </a:r>
                <a:r>
                  <a:rPr lang="ru-RU" dirty="0"/>
                  <a:t>предложили полагать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𝑉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ru-RU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</m:oMath>
                </a14:m>
                <a:r>
                  <a:rPr lang="en-US" dirty="0"/>
                  <a:t>)=</a:t>
                </a:r>
                <a:r>
                  <a:rPr lang="en-US" b="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△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p>
                    </m:sSup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V</m:t>
                    </m:r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i</m:t>
                    </m:r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1,</m:t>
                    </m:r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</m:oMath>
                </a14:m>
                <a:r>
                  <a:rPr lang="en-US" dirty="0"/>
                  <a:t>) </a:t>
                </a:r>
                <a:r>
                  <a:rPr lang="ru-RU" dirty="0"/>
                  <a:t>для </a:t>
                </a:r>
                <a:r>
                  <a:rPr lang="en-US" dirty="0"/>
                  <a:t>CV(</a:t>
                </a:r>
                <a:r>
                  <a:rPr lang="en-US" dirty="0" err="1"/>
                  <a:t>i</a:t>
                </a:r>
                <a:r>
                  <a:rPr lang="en-US" dirty="0"/>
                  <a:t>,</a:t>
                </a:r>
                <a:r>
                  <a:rPr lang="ru-RU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</m:oMath>
                </a14:m>
                <a:r>
                  <a:rPr lang="en-US" dirty="0"/>
                  <a:t>) &gt; h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</m:oMath>
                </a14:m>
                <a:r>
                  <a:rPr lang="en-US" dirty="0"/>
                  <a:t>) </a:t>
                </a:r>
                <a:r>
                  <a:rPr lang="ru-RU" dirty="0"/>
                  <a:t>и игнорировать те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</m:sSubSup>
                    <m:r>
                      <a:rPr lang="en-US" b="0" i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ru-RU" b="0" i="0" smtClean="0">
                        <a:latin typeface="Cambria Math" panose="02040503050406030204" pitchFamily="18" charset="0"/>
                      </a:rPr>
                      <m:t>когда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endParaRPr lang="ru-RU" dirty="0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CDF9763-48DE-E74A-B022-E8C1CECCF1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4199" y="5310130"/>
                <a:ext cx="5432702" cy="927498"/>
              </a:xfrm>
              <a:prstGeom prst="rect">
                <a:avLst/>
              </a:prstGeom>
              <a:blipFill>
                <a:blip r:embed="rId9"/>
                <a:stretch>
                  <a:fillRect l="-932" t="-2703" r="-699" b="-810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32043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8</TotalTime>
  <Words>1843</Words>
  <Application>Microsoft Macintosh PowerPoint</Application>
  <PresentationFormat>Широкоэкранный</PresentationFormat>
  <Paragraphs>253</Paragraphs>
  <Slides>1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9" baseType="lpstr">
      <vt:lpstr>Arial</vt:lpstr>
      <vt:lpstr>Calibri</vt:lpstr>
      <vt:lpstr>Calibri Light</vt:lpstr>
      <vt:lpstr>Cambria Math</vt:lpstr>
      <vt:lpstr>SB Sans Display</vt:lpstr>
      <vt:lpstr>SB Sans Display Light</vt:lpstr>
      <vt:lpstr>SB Sans Display Semibold</vt:lpstr>
      <vt:lpstr>Times New Roman</vt:lpstr>
      <vt:lpstr>Тема Office</vt:lpstr>
      <vt:lpstr>think-cell Slide</vt:lpstr>
      <vt:lpstr>Pricing Service CVA  Часть 2: Math</vt:lpstr>
      <vt:lpstr>Pricing Service CVA - новая платформа для расчета xVA Executive summary</vt:lpstr>
      <vt:lpstr>Pricing Service: вычислительная платформа как сервис </vt:lpstr>
      <vt:lpstr>Постановка задачи</vt:lpstr>
      <vt:lpstr>Напоминание про CVA</vt:lpstr>
      <vt:lpstr>Как считать CVA</vt:lpstr>
      <vt:lpstr>Эволюция прайсинга деривативов</vt:lpstr>
      <vt:lpstr>Regression Based Monte Carlo</vt:lpstr>
      <vt:lpstr>Алгоритм Regression Based Monte-Carlo</vt:lpstr>
      <vt:lpstr>AAD: Automatic Adjoint Differentiation</vt:lpstr>
      <vt:lpstr>AAD: Automatic Adjoint Differentiation</vt:lpstr>
      <vt:lpstr>AAD: Automatic Adjoint Differentiation</vt:lpstr>
      <vt:lpstr>AAD: Automatic Adjoint Differentiation</vt:lpstr>
      <vt:lpstr>Конструктор payoff: универсальный языка описания ПФИ</vt:lpstr>
      <vt:lpstr>Фабрика моделей: читаем описание ПФИ, строим модель автоматически</vt:lpstr>
      <vt:lpstr>Может понадобиться</vt:lpstr>
      <vt:lpstr>Методы ускорения американского Монте-Карло</vt:lpstr>
      <vt:lpstr>Особенности американского Монте-Карло</vt:lpstr>
      <vt:lpstr>Эволюция моделей оценки стоимости деривативов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cing Service CVA  Часть 2: Math</dc:title>
  <dc:creator>Microsoft Office User</dc:creator>
  <cp:lastModifiedBy>Microsoft Office User</cp:lastModifiedBy>
  <cp:revision>50</cp:revision>
  <dcterms:created xsi:type="dcterms:W3CDTF">2022-11-13T21:00:42Z</dcterms:created>
  <dcterms:modified xsi:type="dcterms:W3CDTF">2022-11-14T06:39:16Z</dcterms:modified>
</cp:coreProperties>
</file>